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 bookmarkIdSeed="3">
  <p:sldMasterIdLst>
    <p:sldMasterId id="2147483648" r:id="rId1"/>
    <p:sldMasterId id="2147483687" r:id="rId2"/>
    <p:sldMasterId id="2147483702" r:id="rId3"/>
    <p:sldMasterId id="2147483725" r:id="rId4"/>
    <p:sldMasterId id="2147483738" r:id="rId5"/>
    <p:sldMasterId id="2147483751" r:id="rId6"/>
    <p:sldMasterId id="2147483765" r:id="rId7"/>
    <p:sldMasterId id="2147483771" r:id="rId8"/>
  </p:sldMasterIdLst>
  <p:notesMasterIdLst>
    <p:notesMasterId r:id="rId25"/>
  </p:notesMasterIdLst>
  <p:handoutMasterIdLst>
    <p:handoutMasterId r:id="rId26"/>
  </p:handoutMasterIdLst>
  <p:sldIdLst>
    <p:sldId id="280" r:id="rId9"/>
    <p:sldId id="409" r:id="rId10"/>
    <p:sldId id="413" r:id="rId11"/>
    <p:sldId id="411" r:id="rId12"/>
    <p:sldId id="412" r:id="rId13"/>
    <p:sldId id="396" r:id="rId14"/>
    <p:sldId id="398" r:id="rId15"/>
    <p:sldId id="399" r:id="rId16"/>
    <p:sldId id="402" r:id="rId17"/>
    <p:sldId id="400" r:id="rId18"/>
    <p:sldId id="401" r:id="rId19"/>
    <p:sldId id="407" r:id="rId20"/>
    <p:sldId id="408" r:id="rId21"/>
    <p:sldId id="406" r:id="rId22"/>
    <p:sldId id="397" r:id="rId23"/>
    <p:sldId id="305" r:id="rId24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1728" userDrawn="1">
          <p15:clr>
            <a:srgbClr val="A4A3A4"/>
          </p15:clr>
        </p15:guide>
        <p15:guide id="4" orient="horz" pos="1296" userDrawn="1">
          <p15:clr>
            <a:srgbClr val="A4A3A4"/>
          </p15:clr>
        </p15:guide>
        <p15:guide id="5" orient="horz" pos="864" userDrawn="1">
          <p15:clr>
            <a:srgbClr val="A4A3A4"/>
          </p15:clr>
        </p15:guide>
        <p15:guide id="6" orient="horz" pos="434" userDrawn="1">
          <p15:clr>
            <a:srgbClr val="A4A3A4"/>
          </p15:clr>
        </p15:guide>
        <p15:guide id="7" orient="horz" pos="2590" userDrawn="1">
          <p15:clr>
            <a:srgbClr val="A4A3A4"/>
          </p15:clr>
        </p15:guide>
        <p15:guide id="8" orient="horz" pos="3022" userDrawn="1">
          <p15:clr>
            <a:srgbClr val="A4A3A4"/>
          </p15:clr>
        </p15:guide>
        <p15:guide id="9" orient="horz" pos="3454" userDrawn="1">
          <p15:clr>
            <a:srgbClr val="A4A3A4"/>
          </p15:clr>
        </p15:guide>
        <p15:guide id="10" orient="horz" pos="3884" userDrawn="1">
          <p15:clr>
            <a:srgbClr val="A4A3A4"/>
          </p15:clr>
        </p15:guide>
        <p15:guide id="11" pos="3359" userDrawn="1">
          <p15:clr>
            <a:srgbClr val="A4A3A4"/>
          </p15:clr>
        </p15:guide>
        <p15:guide id="12" pos="2880" userDrawn="1">
          <p15:clr>
            <a:srgbClr val="A4A3A4"/>
          </p15:clr>
        </p15:guide>
        <p15:guide id="13" pos="2398" userDrawn="1">
          <p15:clr>
            <a:srgbClr val="A4A3A4"/>
          </p15:clr>
        </p15:guide>
        <p15:guide id="14" pos="1920" userDrawn="1">
          <p15:clr>
            <a:srgbClr val="A4A3A4"/>
          </p15:clr>
        </p15:guide>
        <p15:guide id="15" pos="1438" userDrawn="1">
          <p15:clr>
            <a:srgbClr val="A4A3A4"/>
          </p15:clr>
        </p15:guide>
        <p15:guide id="16" pos="960" userDrawn="1">
          <p15:clr>
            <a:srgbClr val="A4A3A4"/>
          </p15:clr>
        </p15:guide>
        <p15:guide id="17" pos="479" userDrawn="1">
          <p15:clr>
            <a:srgbClr val="A4A3A4"/>
          </p15:clr>
        </p15:guide>
        <p15:guide id="18" pos="4320" userDrawn="1">
          <p15:clr>
            <a:srgbClr val="A4A3A4"/>
          </p15:clr>
        </p15:guide>
        <p15:guide id="19" pos="4798" userDrawn="1">
          <p15:clr>
            <a:srgbClr val="A4A3A4"/>
          </p15:clr>
        </p15:guide>
        <p15:guide id="20" pos="5278" userDrawn="1">
          <p15:clr>
            <a:srgbClr val="A4A3A4"/>
          </p15:clr>
        </p15:guide>
        <p15:guide id="21" pos="5756" userDrawn="1">
          <p15:clr>
            <a:srgbClr val="A4A3A4"/>
          </p15:clr>
        </p15:guide>
        <p15:guide id="22" pos="6236" userDrawn="1">
          <p15:clr>
            <a:srgbClr val="A4A3A4"/>
          </p15:clr>
        </p15:guide>
        <p15:guide id="23" pos="6718" userDrawn="1">
          <p15:clr>
            <a:srgbClr val="A4A3A4"/>
          </p15:clr>
        </p15:guide>
        <p15:guide id="24" pos="7198" userDrawn="1">
          <p15:clr>
            <a:srgbClr val="A4A3A4"/>
          </p15:clr>
        </p15:guide>
        <p15:guide id="25" orient="horz" pos="2152">
          <p15:clr>
            <a:srgbClr val="A4A3A4"/>
          </p15:clr>
        </p15:guide>
        <p15:guide id="26" orient="horz" pos="87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509A"/>
    <a:srgbClr val="55BE5A"/>
    <a:srgbClr val="0655FA"/>
    <a:srgbClr val="33CCCC"/>
    <a:srgbClr val="FE0F64"/>
    <a:srgbClr val="FE570D"/>
    <a:srgbClr val="F33607"/>
    <a:srgbClr val="55BD5A"/>
    <a:srgbClr val="028C59"/>
    <a:srgbClr val="40B9E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08" autoAdjust="0"/>
    <p:restoredTop sz="95501" autoAdjust="0"/>
  </p:normalViewPr>
  <p:slideViewPr>
    <p:cSldViewPr snapToGrid="0" snapToObjects="1">
      <p:cViewPr varScale="1">
        <p:scale>
          <a:sx n="74" d="100"/>
          <a:sy n="74" d="100"/>
        </p:scale>
        <p:origin x="612" y="72"/>
      </p:cViewPr>
      <p:guideLst>
        <p:guide pos="3840"/>
        <p:guide orient="horz" pos="2160"/>
        <p:guide orient="horz" pos="1728"/>
        <p:guide orient="horz" pos="1296"/>
        <p:guide orient="horz" pos="864"/>
        <p:guide orient="horz" pos="434"/>
        <p:guide orient="horz" pos="2590"/>
        <p:guide orient="horz" pos="3022"/>
        <p:guide orient="horz" pos="3454"/>
        <p:guide orient="horz" pos="3884"/>
        <p:guide pos="3359"/>
        <p:guide pos="2880"/>
        <p:guide pos="2398"/>
        <p:guide pos="1920"/>
        <p:guide pos="1438"/>
        <p:guide pos="960"/>
        <p:guide pos="479"/>
        <p:guide pos="4320"/>
        <p:guide pos="4798"/>
        <p:guide pos="5278"/>
        <p:guide pos="5756"/>
        <p:guide pos="6236"/>
        <p:guide pos="6718"/>
        <p:guide pos="7198"/>
        <p:guide orient="horz" pos="2152"/>
        <p:guide orient="horz" pos="870"/>
      </p:guideLst>
    </p:cSldViewPr>
  </p:slideViewPr>
  <p:outlineViewPr>
    <p:cViewPr>
      <p:scale>
        <a:sx n="33" d="100"/>
        <a:sy n="33" d="100"/>
      </p:scale>
      <p:origin x="0" y="-43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elson.assumpcao\AppData\Local\Microsoft\Windows\Temporary%20Internet%20Files\Content.Outlook\P1HFYWX5\Ranking%20-%20Investidores%20UFV%20e%20EO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747553259165281E-2"/>
          <c:y val="0.29633007539003386"/>
          <c:w val="0.82386080262067574"/>
          <c:h val="0.309371926618052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8BA-41D4-910A-90C3CF0FD6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6</c:f>
              <c:strCache>
                <c:ptCount val="5"/>
                <c:pt idx="0">
                  <c:v>Enel Green Power</c:v>
                </c:pt>
                <c:pt idx="1">
                  <c:v>Atlas</c:v>
                </c:pt>
                <c:pt idx="2">
                  <c:v>Canadian</c:v>
                </c:pt>
                <c:pt idx="3">
                  <c:v>Grupo Cobra</c:v>
                </c:pt>
                <c:pt idx="4">
                  <c:v>Solairedirect</c:v>
                </c:pt>
              </c:strCache>
            </c:strRef>
          </c:cat>
          <c:val>
            <c:numRef>
              <c:f>Plan1!$B$2:$B$6</c:f>
              <c:numCache>
                <c:formatCode>0</c:formatCode>
                <c:ptCount val="5"/>
                <c:pt idx="0">
                  <c:v>1059</c:v>
                </c:pt>
                <c:pt idx="1">
                  <c:v>381</c:v>
                </c:pt>
                <c:pt idx="2">
                  <c:v>330</c:v>
                </c:pt>
                <c:pt idx="3">
                  <c:v>270</c:v>
                </c:pt>
                <c:pt idx="4">
                  <c:v>2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8BA-41D4-910A-90C3CF0FD6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7"/>
        <c:axId val="289500216"/>
        <c:axId val="289093800"/>
      </c:barChart>
      <c:catAx>
        <c:axId val="289500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spc="-1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9093800"/>
        <c:crosses val="autoZero"/>
        <c:auto val="1"/>
        <c:lblAlgn val="ctr"/>
        <c:lblOffset val="100"/>
        <c:noMultiLvlLbl val="0"/>
      </c:catAx>
      <c:valAx>
        <c:axId val="289093800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289500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axId val="204522184"/>
        <c:axId val="204522576"/>
      </c:barChart>
      <c:catAx>
        <c:axId val="2045221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204522576"/>
        <c:crosses val="autoZero"/>
        <c:auto val="1"/>
        <c:lblAlgn val="ctr"/>
        <c:lblOffset val="100"/>
        <c:noMultiLvlLbl val="0"/>
      </c:catAx>
      <c:valAx>
        <c:axId val="20452257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0452218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axId val="129555352"/>
        <c:axId val="129555744"/>
      </c:barChart>
      <c:catAx>
        <c:axId val="1295553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50" b="1"/>
            </a:pPr>
            <a:endParaRPr lang="en-US"/>
          </a:p>
        </c:txPr>
        <c:crossAx val="129555744"/>
        <c:crosses val="autoZero"/>
        <c:auto val="1"/>
        <c:lblAlgn val="ctr"/>
        <c:lblOffset val="100"/>
        <c:noMultiLvlLbl val="0"/>
      </c:catAx>
      <c:valAx>
        <c:axId val="1295557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9555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48425882690994E-2"/>
          <c:y val="0.21723442723024811"/>
          <c:w val="0.94325963860198125"/>
          <c:h val="0.461323737515537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D8D-43F7-8778-708176BBE9ED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ED8D-43F7-8778-708176BBE9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6</c:f>
              <c:strCache>
                <c:ptCount val="5"/>
                <c:pt idx="0">
                  <c:v>Enel Green Power</c:v>
                </c:pt>
                <c:pt idx="1">
                  <c:v>CPFL Renováveis</c:v>
                </c:pt>
                <c:pt idx="2">
                  <c:v>Engie</c:v>
                </c:pt>
                <c:pt idx="3">
                  <c:v>Queiroz Galvão</c:v>
                </c:pt>
                <c:pt idx="4">
                  <c:v>Atlantic</c:v>
                </c:pt>
              </c:strCache>
            </c:strRef>
          </c:cat>
          <c:val>
            <c:numRef>
              <c:f>Plan1!$B$2:$B$6</c:f>
              <c:numCache>
                <c:formatCode>0</c:formatCode>
                <c:ptCount val="5"/>
                <c:pt idx="0">
                  <c:v>1718</c:v>
                </c:pt>
                <c:pt idx="1">
                  <c:v>1308</c:v>
                </c:pt>
                <c:pt idx="2">
                  <c:v>1048</c:v>
                </c:pt>
                <c:pt idx="3">
                  <c:v>764</c:v>
                </c:pt>
                <c:pt idx="4">
                  <c:v>6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D8D-43F7-8778-708176BBE9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7"/>
        <c:axId val="129556528"/>
        <c:axId val="289499040"/>
      </c:barChart>
      <c:catAx>
        <c:axId val="12955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spc="-1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9499040"/>
        <c:crosses val="autoZero"/>
        <c:auto val="1"/>
        <c:lblAlgn val="ctr"/>
        <c:lblOffset val="100"/>
        <c:noMultiLvlLbl val="0"/>
      </c:catAx>
      <c:valAx>
        <c:axId val="289499040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9556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390C39-03EF-4D8D-A282-66499F3A0B68}" type="doc">
      <dgm:prSet loTypeId="urn:microsoft.com/office/officeart/2005/8/layout/process4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pt-BR"/>
        </a:p>
      </dgm:t>
    </dgm:pt>
    <dgm:pt modelId="{FA1B4E00-D9F2-4EA7-B42C-C3B8440946B1}">
      <dgm:prSet phldrT="[Texto]" custT="1"/>
      <dgm:spPr>
        <a:solidFill>
          <a:schemeClr val="bg2">
            <a:lumMod val="90000"/>
            <a:alpha val="50000"/>
          </a:schemeClr>
        </a:solidFill>
      </dgm:spPr>
      <dgm:t>
        <a:bodyPr/>
        <a:lstStyle/>
        <a:p>
          <a:r>
            <a:rPr lang="it-IT" sz="1800" b="1" baseline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alização do Workshop Geração de Energia Solar - Bahia e Piauí</a:t>
          </a:r>
          <a:endParaRPr lang="pt-BR" sz="1400" b="1" baseline="0" dirty="0">
            <a:solidFill>
              <a:schemeClr val="accent1">
                <a:lumMod val="50000"/>
              </a:schemeClr>
            </a:solidFill>
          </a:endParaRPr>
        </a:p>
      </dgm:t>
    </dgm:pt>
    <dgm:pt modelId="{652A44CD-7759-4F26-BE64-8D8284368A75}" type="parTrans" cxnId="{387D9F0B-227A-4AE4-9AE3-0EE8B72ECB3A}">
      <dgm:prSet/>
      <dgm:spPr/>
      <dgm:t>
        <a:bodyPr/>
        <a:lstStyle/>
        <a:p>
          <a:endParaRPr lang="pt-BR"/>
        </a:p>
      </dgm:t>
    </dgm:pt>
    <dgm:pt modelId="{063DC07B-BB90-430C-AAAA-CE0ACC133893}" type="sibTrans" cxnId="{387D9F0B-227A-4AE4-9AE3-0EE8B72ECB3A}">
      <dgm:prSet/>
      <dgm:spPr/>
      <dgm:t>
        <a:bodyPr/>
        <a:lstStyle/>
        <a:p>
          <a:endParaRPr lang="pt-BR"/>
        </a:p>
      </dgm:t>
    </dgm:pt>
    <dgm:pt modelId="{C2C9E658-AAAA-4B27-ABE3-700C19BECA25}">
      <dgm:prSet custT="1"/>
      <dgm:spPr>
        <a:solidFill>
          <a:schemeClr val="bg2">
            <a:lumMod val="90000"/>
            <a:alpha val="63000"/>
          </a:schemeClr>
        </a:solidFill>
      </dgm:spPr>
      <dgm:t>
        <a:bodyPr/>
        <a:lstStyle/>
        <a:p>
          <a:pPr algn="ctr"/>
          <a:r>
            <a:rPr lang="it-IT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ICIATIVA</a:t>
          </a:r>
        </a:p>
        <a:p>
          <a:pPr algn="just"/>
          <a:r>
            <a:rPr lang="it-IT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Atender uma demanda recorrente de diferentes Órgãos da Gestão Pública vinculados ao Processo de Licenciamento e ao Desenvolvimento Econômico dos Estados e Municípios.</a:t>
          </a:r>
          <a:endParaRPr lang="pt-BR" sz="1400" dirty="0">
            <a:solidFill>
              <a:schemeClr val="accent1">
                <a:lumMod val="50000"/>
              </a:schemeClr>
            </a:solidFill>
          </a:endParaRPr>
        </a:p>
      </dgm:t>
    </dgm:pt>
    <dgm:pt modelId="{4CA366EB-B0BC-4130-A0EB-895A24A83B54}" type="parTrans" cxnId="{4D9A1A3B-FE75-4776-9D08-5E6C623D47A9}">
      <dgm:prSet/>
      <dgm:spPr/>
      <dgm:t>
        <a:bodyPr/>
        <a:lstStyle/>
        <a:p>
          <a:endParaRPr lang="pt-BR"/>
        </a:p>
      </dgm:t>
    </dgm:pt>
    <dgm:pt modelId="{C45E115F-589A-4A84-93D1-34F71D4DB009}" type="sibTrans" cxnId="{4D9A1A3B-FE75-4776-9D08-5E6C623D47A9}">
      <dgm:prSet/>
      <dgm:spPr/>
      <dgm:t>
        <a:bodyPr/>
        <a:lstStyle/>
        <a:p>
          <a:endParaRPr lang="pt-BR"/>
        </a:p>
      </dgm:t>
    </dgm:pt>
    <dgm:pt modelId="{DB93D188-5D2D-4186-9A8E-2FA5EC6C1AC8}">
      <dgm:prSet phldrT="[Texto]" custT="1"/>
      <dgm:spPr>
        <a:solidFill>
          <a:schemeClr val="tx1">
            <a:lumMod val="65000"/>
            <a:lumOff val="35000"/>
            <a:alpha val="76667"/>
          </a:schemeClr>
        </a:solidFill>
      </dgm:spPr>
      <dgm:t>
        <a:bodyPr/>
        <a:lstStyle/>
        <a:p>
          <a:endParaRPr lang="pt-BR" sz="1100" dirty="0"/>
        </a:p>
      </dgm:t>
    </dgm:pt>
    <dgm:pt modelId="{B345CD1B-17A5-4F84-A576-6E54227D75F8}" type="sibTrans" cxnId="{B737BAE8-B597-4F0C-ACD7-6EC84FFB563A}">
      <dgm:prSet/>
      <dgm:spPr/>
      <dgm:t>
        <a:bodyPr/>
        <a:lstStyle/>
        <a:p>
          <a:endParaRPr lang="pt-BR"/>
        </a:p>
      </dgm:t>
    </dgm:pt>
    <dgm:pt modelId="{9280AEC6-FA57-4B5D-B499-D68FACC8988A}" type="parTrans" cxnId="{B737BAE8-B597-4F0C-ACD7-6EC84FFB563A}">
      <dgm:prSet/>
      <dgm:spPr/>
      <dgm:t>
        <a:bodyPr/>
        <a:lstStyle/>
        <a:p>
          <a:endParaRPr lang="pt-BR"/>
        </a:p>
      </dgm:t>
    </dgm:pt>
    <dgm:pt modelId="{8B6F0DA0-DE97-4CFC-924E-AAFD78708722}">
      <dgm:prSet custT="1"/>
      <dgm:spPr>
        <a:solidFill>
          <a:schemeClr val="tx2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it-IT" sz="13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       </a:t>
          </a:r>
          <a:r>
            <a:rPr lang="it-IT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OBJETIVO</a:t>
          </a:r>
        </a:p>
        <a:p>
          <a:pPr algn="just"/>
          <a:r>
            <a:rPr lang="pt-BR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mpartilhar a experiência mundial da Enel no segmento de geração de energia solar com Agentes da Gestão Pública</a:t>
          </a:r>
          <a:endParaRPr lang="pt-BR" sz="1400" dirty="0">
            <a:solidFill>
              <a:schemeClr val="accent1">
                <a:lumMod val="50000"/>
              </a:schemeClr>
            </a:solidFill>
          </a:endParaRPr>
        </a:p>
      </dgm:t>
    </dgm:pt>
    <dgm:pt modelId="{893CB793-78C4-400C-BF8F-16BE537EEB94}" type="parTrans" cxnId="{AA8F0E98-C63A-41AF-9723-8E6DBCDA4B28}">
      <dgm:prSet/>
      <dgm:spPr/>
      <dgm:t>
        <a:bodyPr/>
        <a:lstStyle/>
        <a:p>
          <a:endParaRPr lang="pt-BR"/>
        </a:p>
      </dgm:t>
    </dgm:pt>
    <dgm:pt modelId="{74D5CBDA-2F7C-4213-BB26-54437A76F51C}" type="sibTrans" cxnId="{AA8F0E98-C63A-41AF-9723-8E6DBCDA4B28}">
      <dgm:prSet/>
      <dgm:spPr/>
      <dgm:t>
        <a:bodyPr/>
        <a:lstStyle/>
        <a:p>
          <a:endParaRPr lang="pt-BR"/>
        </a:p>
      </dgm:t>
    </dgm:pt>
    <dgm:pt modelId="{39B1E447-2EA6-4FDA-A049-8E4C25CAE12F}">
      <dgm:prSet custT="1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pPr algn="ctr"/>
          <a:r>
            <a:rPr lang="it-IT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SULTADOS</a:t>
          </a:r>
        </a:p>
        <a:p>
          <a:pPr algn="just"/>
          <a:r>
            <a:rPr lang="pt-BR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 Divulgação da experiência nacional e internacional do Grupo ENEL no setor; </a:t>
          </a:r>
        </a:p>
        <a:p>
          <a:pPr algn="just"/>
          <a:r>
            <a:rPr lang="pt-BR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 Promoção de espaço para discussão e aprofundamento técnico sobre o tema; </a:t>
          </a:r>
        </a:p>
        <a:p>
          <a:pPr algn="just"/>
          <a:r>
            <a:rPr lang="pt-BR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 Estreitamento da relação com os agentes da Gestão Publica, vinculados ao Processo de Licenciamento nos estados da Bahia e Piauí;</a:t>
          </a:r>
        </a:p>
      </dgm:t>
    </dgm:pt>
    <dgm:pt modelId="{96DFFB93-C3BF-4756-8CA7-EC102B0A9CE1}" type="parTrans" cxnId="{D7967643-6113-4F0F-B951-D7180080ECCA}">
      <dgm:prSet/>
      <dgm:spPr/>
      <dgm:t>
        <a:bodyPr/>
        <a:lstStyle/>
        <a:p>
          <a:endParaRPr lang="pt-BR"/>
        </a:p>
      </dgm:t>
    </dgm:pt>
    <dgm:pt modelId="{9FBDDD3E-4970-4120-898B-03225900E4DA}" type="sibTrans" cxnId="{D7967643-6113-4F0F-B951-D7180080ECCA}">
      <dgm:prSet/>
      <dgm:spPr/>
      <dgm:t>
        <a:bodyPr/>
        <a:lstStyle/>
        <a:p>
          <a:endParaRPr lang="pt-BR"/>
        </a:p>
      </dgm:t>
    </dgm:pt>
    <dgm:pt modelId="{13E29C3B-6F91-40BC-A4B0-EB0B4152CFC3}" type="pres">
      <dgm:prSet presAssocID="{E4390C39-03EF-4D8D-A282-66499F3A0B6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254AE102-0541-4DB3-8334-C591547D6192}" type="pres">
      <dgm:prSet presAssocID="{39B1E447-2EA6-4FDA-A049-8E4C25CAE12F}" presName="boxAndChildren" presStyleCnt="0"/>
      <dgm:spPr/>
      <dgm:t>
        <a:bodyPr/>
        <a:lstStyle/>
        <a:p>
          <a:endParaRPr lang="pt-BR"/>
        </a:p>
      </dgm:t>
    </dgm:pt>
    <dgm:pt modelId="{44062172-ED9A-4B5D-A296-1E1E19FF87A6}" type="pres">
      <dgm:prSet presAssocID="{39B1E447-2EA6-4FDA-A049-8E4C25CAE12F}" presName="parentTextBox" presStyleLbl="node1" presStyleIdx="0" presStyleCnt="4" custScaleY="128681" custLinFactNeighborY="169"/>
      <dgm:spPr/>
      <dgm:t>
        <a:bodyPr/>
        <a:lstStyle/>
        <a:p>
          <a:endParaRPr lang="pt-BR"/>
        </a:p>
      </dgm:t>
    </dgm:pt>
    <dgm:pt modelId="{2D7C5D26-514D-4713-ADB5-900FDAFE7E4C}" type="pres">
      <dgm:prSet presAssocID="{B345CD1B-17A5-4F84-A576-6E54227D75F8}" presName="sp" presStyleCnt="0"/>
      <dgm:spPr/>
      <dgm:t>
        <a:bodyPr/>
        <a:lstStyle/>
        <a:p>
          <a:endParaRPr lang="pt-BR"/>
        </a:p>
      </dgm:t>
    </dgm:pt>
    <dgm:pt modelId="{21D65C5F-1081-4F2D-A3D3-85576289A29E}" type="pres">
      <dgm:prSet presAssocID="{DB93D188-5D2D-4186-9A8E-2FA5EC6C1AC8}" presName="arrowAndChildren" presStyleCnt="0"/>
      <dgm:spPr/>
      <dgm:t>
        <a:bodyPr/>
        <a:lstStyle/>
        <a:p>
          <a:endParaRPr lang="pt-BR"/>
        </a:p>
      </dgm:t>
    </dgm:pt>
    <dgm:pt modelId="{ECBDC8F0-ADBA-4D04-BD1C-5A8A15935F2D}" type="pres">
      <dgm:prSet presAssocID="{DB93D188-5D2D-4186-9A8E-2FA5EC6C1AC8}" presName="parentTextArrow" presStyleLbl="node1" presStyleIdx="0" presStyleCnt="4"/>
      <dgm:spPr/>
      <dgm:t>
        <a:bodyPr/>
        <a:lstStyle/>
        <a:p>
          <a:endParaRPr lang="pt-BR"/>
        </a:p>
      </dgm:t>
    </dgm:pt>
    <dgm:pt modelId="{9955689D-C170-4B6D-A2EF-0CB53BA44394}" type="pres">
      <dgm:prSet presAssocID="{DB93D188-5D2D-4186-9A8E-2FA5EC6C1AC8}" presName="arrow" presStyleLbl="node1" presStyleIdx="1" presStyleCnt="4" custScaleY="87170"/>
      <dgm:spPr/>
      <dgm:t>
        <a:bodyPr/>
        <a:lstStyle/>
        <a:p>
          <a:endParaRPr lang="pt-BR"/>
        </a:p>
      </dgm:t>
    </dgm:pt>
    <dgm:pt modelId="{6DE35CA0-9EF3-4E20-B3E4-27250ED9CA9C}" type="pres">
      <dgm:prSet presAssocID="{DB93D188-5D2D-4186-9A8E-2FA5EC6C1AC8}" presName="descendantArrow" presStyleCnt="0"/>
      <dgm:spPr/>
      <dgm:t>
        <a:bodyPr/>
        <a:lstStyle/>
        <a:p>
          <a:endParaRPr lang="pt-BR"/>
        </a:p>
      </dgm:t>
    </dgm:pt>
    <dgm:pt modelId="{B5EF6B09-C48E-46F3-A23E-863E4EDB2976}" type="pres">
      <dgm:prSet presAssocID="{8B6F0DA0-DE97-4CFC-924E-AAFD78708722}" presName="childTextArrow" presStyleLbl="fgAccFollowNode1" presStyleIdx="0" presStyleCnt="1" custScaleX="2000000" custScaleY="164554" custLinFactNeighborX="-78146" custLinFactNeighborY="-5874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2DFA529-A2BD-4BF7-BD48-BB0AC3D0E7A4}" type="pres">
      <dgm:prSet presAssocID="{C45E115F-589A-4A84-93D1-34F71D4DB009}" presName="sp" presStyleCnt="0"/>
      <dgm:spPr/>
      <dgm:t>
        <a:bodyPr/>
        <a:lstStyle/>
        <a:p>
          <a:endParaRPr lang="pt-BR"/>
        </a:p>
      </dgm:t>
    </dgm:pt>
    <dgm:pt modelId="{3CBE0DE7-B00C-4B1D-ADE1-34ADD3E5ED56}" type="pres">
      <dgm:prSet presAssocID="{C2C9E658-AAAA-4B27-ABE3-700C19BECA25}" presName="arrowAndChildren" presStyleCnt="0"/>
      <dgm:spPr/>
      <dgm:t>
        <a:bodyPr/>
        <a:lstStyle/>
        <a:p>
          <a:endParaRPr lang="pt-BR"/>
        </a:p>
      </dgm:t>
    </dgm:pt>
    <dgm:pt modelId="{C18352F8-2E3F-4000-97B1-AEB54DAA6E99}" type="pres">
      <dgm:prSet presAssocID="{C2C9E658-AAAA-4B27-ABE3-700C19BECA25}" presName="parentTextArrow" presStyleLbl="node1" presStyleIdx="2" presStyleCnt="4" custScaleY="69969"/>
      <dgm:spPr/>
      <dgm:t>
        <a:bodyPr/>
        <a:lstStyle/>
        <a:p>
          <a:endParaRPr lang="pt-BR"/>
        </a:p>
      </dgm:t>
    </dgm:pt>
    <dgm:pt modelId="{159FC95B-A227-48D6-A67E-D340EAAC0C7A}" type="pres">
      <dgm:prSet presAssocID="{063DC07B-BB90-430C-AAAA-CE0ACC133893}" presName="sp" presStyleCnt="0"/>
      <dgm:spPr/>
      <dgm:t>
        <a:bodyPr/>
        <a:lstStyle/>
        <a:p>
          <a:endParaRPr lang="pt-BR"/>
        </a:p>
      </dgm:t>
    </dgm:pt>
    <dgm:pt modelId="{B8DA1355-0F37-4E41-AA78-4DD0B9B5F015}" type="pres">
      <dgm:prSet presAssocID="{FA1B4E00-D9F2-4EA7-B42C-C3B8440946B1}" presName="arrowAndChildren" presStyleCnt="0"/>
      <dgm:spPr/>
      <dgm:t>
        <a:bodyPr/>
        <a:lstStyle/>
        <a:p>
          <a:endParaRPr lang="pt-BR"/>
        </a:p>
      </dgm:t>
    </dgm:pt>
    <dgm:pt modelId="{273FC00E-F547-49F7-B0B8-27F966EDE599}" type="pres">
      <dgm:prSet presAssocID="{FA1B4E00-D9F2-4EA7-B42C-C3B8440946B1}" presName="parentTextArrow" presStyleLbl="node1" presStyleIdx="3" presStyleCnt="4" custScaleY="51378" custLinFactNeighborY="-763"/>
      <dgm:spPr/>
      <dgm:t>
        <a:bodyPr/>
        <a:lstStyle/>
        <a:p>
          <a:endParaRPr lang="pt-BR"/>
        </a:p>
      </dgm:t>
    </dgm:pt>
  </dgm:ptLst>
  <dgm:cxnLst>
    <dgm:cxn modelId="{D7967643-6113-4F0F-B951-D7180080ECCA}" srcId="{E4390C39-03EF-4D8D-A282-66499F3A0B68}" destId="{39B1E447-2EA6-4FDA-A049-8E4C25CAE12F}" srcOrd="3" destOrd="0" parTransId="{96DFFB93-C3BF-4756-8CA7-EC102B0A9CE1}" sibTransId="{9FBDDD3E-4970-4120-898B-03225900E4DA}"/>
    <dgm:cxn modelId="{387D9F0B-227A-4AE4-9AE3-0EE8B72ECB3A}" srcId="{E4390C39-03EF-4D8D-A282-66499F3A0B68}" destId="{FA1B4E00-D9F2-4EA7-B42C-C3B8440946B1}" srcOrd="0" destOrd="0" parTransId="{652A44CD-7759-4F26-BE64-8D8284368A75}" sibTransId="{063DC07B-BB90-430C-AAAA-CE0ACC133893}"/>
    <dgm:cxn modelId="{4D9A1A3B-FE75-4776-9D08-5E6C623D47A9}" srcId="{E4390C39-03EF-4D8D-A282-66499F3A0B68}" destId="{C2C9E658-AAAA-4B27-ABE3-700C19BECA25}" srcOrd="1" destOrd="0" parTransId="{4CA366EB-B0BC-4130-A0EB-895A24A83B54}" sibTransId="{C45E115F-589A-4A84-93D1-34F71D4DB009}"/>
    <dgm:cxn modelId="{4ABF351E-91E5-475D-A9B4-50830F6F5410}" type="presOf" srcId="{FA1B4E00-D9F2-4EA7-B42C-C3B8440946B1}" destId="{273FC00E-F547-49F7-B0B8-27F966EDE599}" srcOrd="0" destOrd="0" presId="urn:microsoft.com/office/officeart/2005/8/layout/process4"/>
    <dgm:cxn modelId="{7BEC1B97-BF6E-457D-9603-95F41BFBD4C2}" type="presOf" srcId="{8B6F0DA0-DE97-4CFC-924E-AAFD78708722}" destId="{B5EF6B09-C48E-46F3-A23E-863E4EDB2976}" srcOrd="0" destOrd="0" presId="urn:microsoft.com/office/officeart/2005/8/layout/process4"/>
    <dgm:cxn modelId="{0084C869-4996-48AB-BD28-A0D461D7A12B}" type="presOf" srcId="{DB93D188-5D2D-4186-9A8E-2FA5EC6C1AC8}" destId="{9955689D-C170-4B6D-A2EF-0CB53BA44394}" srcOrd="1" destOrd="0" presId="urn:microsoft.com/office/officeart/2005/8/layout/process4"/>
    <dgm:cxn modelId="{CF0D1EB4-5CF0-43A8-97FD-B7654B885903}" type="presOf" srcId="{DB93D188-5D2D-4186-9A8E-2FA5EC6C1AC8}" destId="{ECBDC8F0-ADBA-4D04-BD1C-5A8A15935F2D}" srcOrd="0" destOrd="0" presId="urn:microsoft.com/office/officeart/2005/8/layout/process4"/>
    <dgm:cxn modelId="{8B673664-3C32-4209-B08D-E14B8665F573}" type="presOf" srcId="{E4390C39-03EF-4D8D-A282-66499F3A0B68}" destId="{13E29C3B-6F91-40BC-A4B0-EB0B4152CFC3}" srcOrd="0" destOrd="0" presId="urn:microsoft.com/office/officeart/2005/8/layout/process4"/>
    <dgm:cxn modelId="{AA8F0E98-C63A-41AF-9723-8E6DBCDA4B28}" srcId="{DB93D188-5D2D-4186-9A8E-2FA5EC6C1AC8}" destId="{8B6F0DA0-DE97-4CFC-924E-AAFD78708722}" srcOrd="0" destOrd="0" parTransId="{893CB793-78C4-400C-BF8F-16BE537EEB94}" sibTransId="{74D5CBDA-2F7C-4213-BB26-54437A76F51C}"/>
    <dgm:cxn modelId="{EAA4DE39-4D2D-4537-B4D7-27A4ED51630C}" type="presOf" srcId="{39B1E447-2EA6-4FDA-A049-8E4C25CAE12F}" destId="{44062172-ED9A-4B5D-A296-1E1E19FF87A6}" srcOrd="0" destOrd="0" presId="urn:microsoft.com/office/officeart/2005/8/layout/process4"/>
    <dgm:cxn modelId="{F6C9A037-47C2-4879-B442-0D34DDE9068C}" type="presOf" srcId="{C2C9E658-AAAA-4B27-ABE3-700C19BECA25}" destId="{C18352F8-2E3F-4000-97B1-AEB54DAA6E99}" srcOrd="0" destOrd="0" presId="urn:microsoft.com/office/officeart/2005/8/layout/process4"/>
    <dgm:cxn modelId="{B737BAE8-B597-4F0C-ACD7-6EC84FFB563A}" srcId="{E4390C39-03EF-4D8D-A282-66499F3A0B68}" destId="{DB93D188-5D2D-4186-9A8E-2FA5EC6C1AC8}" srcOrd="2" destOrd="0" parTransId="{9280AEC6-FA57-4B5D-B499-D68FACC8988A}" sibTransId="{B345CD1B-17A5-4F84-A576-6E54227D75F8}"/>
    <dgm:cxn modelId="{4E43169D-D50B-4BE7-98ED-DB9C88AAB2AA}" type="presParOf" srcId="{13E29C3B-6F91-40BC-A4B0-EB0B4152CFC3}" destId="{254AE102-0541-4DB3-8334-C591547D6192}" srcOrd="0" destOrd="0" presId="urn:microsoft.com/office/officeart/2005/8/layout/process4"/>
    <dgm:cxn modelId="{5658AEB1-044B-422A-82E6-944C24B14C20}" type="presParOf" srcId="{254AE102-0541-4DB3-8334-C591547D6192}" destId="{44062172-ED9A-4B5D-A296-1E1E19FF87A6}" srcOrd="0" destOrd="0" presId="urn:microsoft.com/office/officeart/2005/8/layout/process4"/>
    <dgm:cxn modelId="{79254241-E13D-423E-85A0-746C4E4F7801}" type="presParOf" srcId="{13E29C3B-6F91-40BC-A4B0-EB0B4152CFC3}" destId="{2D7C5D26-514D-4713-ADB5-900FDAFE7E4C}" srcOrd="1" destOrd="0" presId="urn:microsoft.com/office/officeart/2005/8/layout/process4"/>
    <dgm:cxn modelId="{886046A3-8BFA-4722-BEFD-5166841C348F}" type="presParOf" srcId="{13E29C3B-6F91-40BC-A4B0-EB0B4152CFC3}" destId="{21D65C5F-1081-4F2D-A3D3-85576289A29E}" srcOrd="2" destOrd="0" presId="urn:microsoft.com/office/officeart/2005/8/layout/process4"/>
    <dgm:cxn modelId="{21D91BFE-0377-484D-823F-3E5688CFC44E}" type="presParOf" srcId="{21D65C5F-1081-4F2D-A3D3-85576289A29E}" destId="{ECBDC8F0-ADBA-4D04-BD1C-5A8A15935F2D}" srcOrd="0" destOrd="0" presId="urn:microsoft.com/office/officeart/2005/8/layout/process4"/>
    <dgm:cxn modelId="{F1F90C90-64BA-4188-A751-38D69FDE99F3}" type="presParOf" srcId="{21D65C5F-1081-4F2D-A3D3-85576289A29E}" destId="{9955689D-C170-4B6D-A2EF-0CB53BA44394}" srcOrd="1" destOrd="0" presId="urn:microsoft.com/office/officeart/2005/8/layout/process4"/>
    <dgm:cxn modelId="{EEFF0848-672D-4675-952D-751C65077ECB}" type="presParOf" srcId="{21D65C5F-1081-4F2D-A3D3-85576289A29E}" destId="{6DE35CA0-9EF3-4E20-B3E4-27250ED9CA9C}" srcOrd="2" destOrd="0" presId="urn:microsoft.com/office/officeart/2005/8/layout/process4"/>
    <dgm:cxn modelId="{89F90830-116C-42BB-9B6D-5180C33E6435}" type="presParOf" srcId="{6DE35CA0-9EF3-4E20-B3E4-27250ED9CA9C}" destId="{B5EF6B09-C48E-46F3-A23E-863E4EDB2976}" srcOrd="0" destOrd="0" presId="urn:microsoft.com/office/officeart/2005/8/layout/process4"/>
    <dgm:cxn modelId="{30262735-140C-4709-AFF8-791838E8E30C}" type="presParOf" srcId="{13E29C3B-6F91-40BC-A4B0-EB0B4152CFC3}" destId="{F2DFA529-A2BD-4BF7-BD48-BB0AC3D0E7A4}" srcOrd="3" destOrd="0" presId="urn:microsoft.com/office/officeart/2005/8/layout/process4"/>
    <dgm:cxn modelId="{96626D59-41DF-40BE-A7E8-56DEBF013B43}" type="presParOf" srcId="{13E29C3B-6F91-40BC-A4B0-EB0B4152CFC3}" destId="{3CBE0DE7-B00C-4B1D-ADE1-34ADD3E5ED56}" srcOrd="4" destOrd="0" presId="urn:microsoft.com/office/officeart/2005/8/layout/process4"/>
    <dgm:cxn modelId="{358F5BE7-1649-4F05-B5EE-B4ECFA4F4511}" type="presParOf" srcId="{3CBE0DE7-B00C-4B1D-ADE1-34ADD3E5ED56}" destId="{C18352F8-2E3F-4000-97B1-AEB54DAA6E99}" srcOrd="0" destOrd="0" presId="urn:microsoft.com/office/officeart/2005/8/layout/process4"/>
    <dgm:cxn modelId="{2EAFD671-A4FD-4A72-8A24-BC3B35B7C349}" type="presParOf" srcId="{13E29C3B-6F91-40BC-A4B0-EB0B4152CFC3}" destId="{159FC95B-A227-48D6-A67E-D340EAAC0C7A}" srcOrd="5" destOrd="0" presId="urn:microsoft.com/office/officeart/2005/8/layout/process4"/>
    <dgm:cxn modelId="{1A0AF9CE-EE3C-4A9D-8D4F-A5494BD2B82B}" type="presParOf" srcId="{13E29C3B-6F91-40BC-A4B0-EB0B4152CFC3}" destId="{B8DA1355-0F37-4E41-AA78-4DD0B9B5F015}" srcOrd="6" destOrd="0" presId="urn:microsoft.com/office/officeart/2005/8/layout/process4"/>
    <dgm:cxn modelId="{A7D8A35B-5727-4710-B63A-BAD8D08A86DE}" type="presParOf" srcId="{B8DA1355-0F37-4E41-AA78-4DD0B9B5F015}" destId="{273FC00E-F547-49F7-B0B8-27F966EDE599}" srcOrd="0" destOrd="0" presId="urn:microsoft.com/office/officeart/2005/8/layout/process4"/>
  </dgm:cxnLst>
  <dgm:bg/>
  <dgm:whole>
    <a:ln>
      <a:solidFill>
        <a:srgbClr val="CEE7BB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062172-ED9A-4B5D-A296-1E1E19FF87A6}">
      <dsp:nvSpPr>
        <dsp:cNvPr id="0" name=""/>
        <dsp:cNvSpPr/>
      </dsp:nvSpPr>
      <dsp:spPr>
        <a:xfrm>
          <a:off x="0" y="3348839"/>
          <a:ext cx="10969809" cy="1361398"/>
        </a:xfrm>
        <a:prstGeom prst="rect">
          <a:avLst/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SULTADOS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 Divulgação da experiência nacional e internacional do Grupo ENEL no setor; 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 Promoção de espaço para discussão e aprofundamento técnico sobre o tema; 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 Estreitamento da relação com os agentes da Gestão Publica, vinculados ao Processo de Licenciamento nos estados da Bahia e Piauí;</a:t>
          </a:r>
        </a:p>
      </dsp:txBody>
      <dsp:txXfrm>
        <a:off x="0" y="3348839"/>
        <a:ext cx="10969809" cy="1361398"/>
      </dsp:txXfrm>
    </dsp:sp>
    <dsp:sp modelId="{9955689D-C170-4B6D-A2EF-0CB53BA44394}">
      <dsp:nvSpPr>
        <dsp:cNvPr id="0" name=""/>
        <dsp:cNvSpPr/>
      </dsp:nvSpPr>
      <dsp:spPr>
        <a:xfrm rot="10800000">
          <a:off x="0" y="1944540"/>
          <a:ext cx="10969809" cy="1418384"/>
        </a:xfrm>
        <a:prstGeom prst="upArrowCallout">
          <a:avLst/>
        </a:prstGeom>
        <a:solidFill>
          <a:schemeClr val="tx1">
            <a:lumMod val="65000"/>
            <a:lumOff val="35000"/>
            <a:alpha val="76667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 dirty="0"/>
        </a:p>
      </dsp:txBody>
      <dsp:txXfrm rot="-10800000">
        <a:off x="0" y="1944540"/>
        <a:ext cx="10969809" cy="497853"/>
      </dsp:txXfrm>
    </dsp:sp>
    <dsp:sp modelId="{B5EF6B09-C48E-46F3-A23E-863E4EDB2976}">
      <dsp:nvSpPr>
        <dsp:cNvPr id="0" name=""/>
        <dsp:cNvSpPr/>
      </dsp:nvSpPr>
      <dsp:spPr>
        <a:xfrm>
          <a:off x="0" y="1968459"/>
          <a:ext cx="10967130" cy="800583"/>
        </a:xfrm>
        <a:prstGeom prst="rect">
          <a:avLst/>
        </a:prstGeom>
        <a:solidFill>
          <a:schemeClr val="tx2">
            <a:lumMod val="75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       </a:t>
          </a:r>
          <a:r>
            <a:rPr lang="it-IT" sz="1400" b="1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OBJETIVO</a:t>
          </a:r>
        </a:p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mpartilhar a experiência mundial da Enel no segmento de geração de energia solar com Agentes da Gestão Pública</a:t>
          </a:r>
          <a:endParaRPr lang="pt-BR" sz="1400" kern="1200" dirty="0">
            <a:solidFill>
              <a:schemeClr val="accent1">
                <a:lumMod val="50000"/>
              </a:schemeClr>
            </a:solidFill>
          </a:endParaRPr>
        </a:p>
      </dsp:txBody>
      <dsp:txXfrm>
        <a:off x="0" y="1968459"/>
        <a:ext cx="10967130" cy="800583"/>
      </dsp:txXfrm>
    </dsp:sp>
    <dsp:sp modelId="{C18352F8-2E3F-4000-97B1-AEB54DAA6E99}">
      <dsp:nvSpPr>
        <dsp:cNvPr id="0" name=""/>
        <dsp:cNvSpPr/>
      </dsp:nvSpPr>
      <dsp:spPr>
        <a:xfrm rot="10800000">
          <a:off x="0" y="821910"/>
          <a:ext cx="10969809" cy="1138499"/>
        </a:xfrm>
        <a:prstGeom prst="upArrowCallout">
          <a:avLst/>
        </a:prstGeom>
        <a:solidFill>
          <a:schemeClr val="bg2">
            <a:lumMod val="90000"/>
            <a:alpha val="63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ICIATIVA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Atender uma demanda recorrente de diferentes Órgãos da Gestão Pública vinculados ao Processo de Licenciamento e ao Desenvolvimento Econômico dos Estados e Municípios.</a:t>
          </a:r>
          <a:endParaRPr lang="pt-BR" sz="1400" kern="1200" dirty="0">
            <a:solidFill>
              <a:schemeClr val="accent1">
                <a:lumMod val="50000"/>
              </a:schemeClr>
            </a:solidFill>
          </a:endParaRPr>
        </a:p>
      </dsp:txBody>
      <dsp:txXfrm rot="10800000">
        <a:off x="0" y="821910"/>
        <a:ext cx="10969809" cy="739762"/>
      </dsp:txXfrm>
    </dsp:sp>
    <dsp:sp modelId="{273FC00E-F547-49F7-B0B8-27F966EDE599}">
      <dsp:nvSpPr>
        <dsp:cNvPr id="0" name=""/>
        <dsp:cNvSpPr/>
      </dsp:nvSpPr>
      <dsp:spPr>
        <a:xfrm rot="10800000">
          <a:off x="0" y="0"/>
          <a:ext cx="10969809" cy="835996"/>
        </a:xfrm>
        <a:prstGeom prst="upArrowCallout">
          <a:avLst/>
        </a:prstGeom>
        <a:solidFill>
          <a:schemeClr val="bg2">
            <a:lumMod val="9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baseline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alização do Workshop Geração de Energia Solar - Bahia e Piauí</a:t>
          </a:r>
          <a:endParaRPr lang="pt-BR" sz="1400" b="1" kern="1200" baseline="0" dirty="0">
            <a:solidFill>
              <a:schemeClr val="accent1">
                <a:lumMod val="50000"/>
              </a:schemeClr>
            </a:solidFill>
          </a:endParaRPr>
        </a:p>
      </dsp:txBody>
      <dsp:txXfrm rot="10800000">
        <a:off x="0" y="0"/>
        <a:ext cx="10969809" cy="543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169920" cy="48006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9" y="2"/>
            <a:ext cx="3169920" cy="48006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4A71F510-2865-AD40-B295-EFE53B47B615}" type="datetimeFigureOut">
              <a:rPr lang="en-US" smtClean="0"/>
              <a:pPr/>
              <a:t>3/1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119476"/>
            <a:ext cx="3169920" cy="480060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9" y="9119476"/>
            <a:ext cx="3169920" cy="480060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FB7C96FB-A7F6-4D46-979D-BE69A3DE088F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575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169920" cy="48172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2"/>
            <a:ext cx="3169920" cy="48172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38A2DA8-FDC1-D147-9E87-8AE9AC161936}" type="datetimeFigureOut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6288" y="1200150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80"/>
            <a:ext cx="5852160" cy="3780473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119474"/>
            <a:ext cx="3169920" cy="48172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4"/>
            <a:ext cx="3169920" cy="48172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1A54B304-E99A-554B-A154-AA493B70D9FA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3023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127881-DE8C-4F7E-8F1B-C60CED46E1D5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511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127881-DE8C-4F7E-8F1B-C60CED46E1D5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424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6643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699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1" y="5483499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1" y="5483499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8134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744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6" y="615086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0776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079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45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22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Presentation footer 10PT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984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5818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D8611-EBAB-B04C-8EA8-288E351AF36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The Enel Group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838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4F0-8C82-524D-AFF3-B14B8B0AAB74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The Enel Group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351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A99125-30B9-4E9A-B686-10B18ADEB155}" type="datetimeFigureOut">
              <a:rPr lang="pt-BR" smtClean="0"/>
              <a:t>15/03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0326-3DA7-413E-BC55-B97283D5E0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2764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ottotitolo 2"/>
          <p:cNvSpPr txBox="1">
            <a:spLocks/>
          </p:cNvSpPr>
          <p:nvPr userDrawn="1"/>
        </p:nvSpPr>
        <p:spPr>
          <a:xfrm>
            <a:off x="433917" y="1693339"/>
            <a:ext cx="11140016" cy="4282017"/>
          </a:xfrm>
          <a:prstGeom prst="rect">
            <a:avLst/>
          </a:prstGeom>
        </p:spPr>
        <p:txBody>
          <a:bodyPr lIns="121917" tIns="0" rIns="121917" bIns="60958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10" name="Titolo 1"/>
          <p:cNvSpPr>
            <a:spLocks noGrp="1"/>
          </p:cNvSpPr>
          <p:nvPr>
            <p:ph type="title"/>
          </p:nvPr>
        </p:nvSpPr>
        <p:spPr>
          <a:xfrm>
            <a:off x="1804800" y="443595"/>
            <a:ext cx="8558400" cy="480000"/>
          </a:xfrm>
          <a:prstGeom prst="rect">
            <a:avLst/>
          </a:prstGeom>
        </p:spPr>
        <p:txBody>
          <a:bodyPr/>
          <a:lstStyle>
            <a:lvl1pPr algn="l"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pt-BR" smtClean="0"/>
              <a:t>Clique para editar o título mestre</a:t>
            </a:r>
            <a:endParaRPr lang="it-IT" dirty="0"/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1804800" y="923648"/>
            <a:ext cx="8558400" cy="480000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lnSpc>
                <a:spcPts val="3733"/>
              </a:lnSpc>
              <a:spcBef>
                <a:spcPct val="0"/>
              </a:spcBef>
              <a:buNone/>
              <a:defRPr lang="it-IT" sz="27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398238" y="2256000"/>
            <a:ext cx="11247029" cy="39573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733"/>
              </a:lnSpc>
              <a:buNone/>
              <a:defRPr sz="24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70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54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339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B67EB-3AC3-4EE7-A36E-C524B2689987}" type="slidenum">
              <a:rPr lang="it-IT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º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532433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3" y="1723885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7" y="3429018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6816" indent="0" algn="ctr">
              <a:buNone/>
              <a:defRPr sz="2000"/>
            </a:lvl2pPr>
            <a:lvl3pPr marL="913626" indent="0" algn="ctr">
              <a:buNone/>
              <a:defRPr sz="1800"/>
            </a:lvl3pPr>
            <a:lvl4pPr marL="1370438" indent="0" algn="ctr">
              <a:buNone/>
              <a:defRPr sz="1600"/>
            </a:lvl4pPr>
            <a:lvl5pPr marL="1827250" indent="0" algn="ctr">
              <a:buNone/>
              <a:defRPr sz="1600"/>
            </a:lvl5pPr>
            <a:lvl6pPr marL="2284063" indent="0" algn="ctr">
              <a:buNone/>
              <a:defRPr sz="1600"/>
            </a:lvl6pPr>
            <a:lvl7pPr marL="2740875" indent="0" algn="ctr">
              <a:buNone/>
              <a:defRPr sz="1600"/>
            </a:lvl7pPr>
            <a:lvl8pPr marL="3197688" indent="0" algn="ctr">
              <a:buNone/>
              <a:defRPr sz="1600"/>
            </a:lvl8pPr>
            <a:lvl9pPr marL="36545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1" y="3429018"/>
            <a:ext cx="1510612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FED5E194-A313-3546-9321-A3CB328571C1}" type="datetime1">
              <a:rPr lang="en-GB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50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63" tIns="45681" rIns="91363" bIns="45681" rtlCol="0" anchor="ctr"/>
          <a:lstStyle/>
          <a:p>
            <a:pPr algn="ctr" defTabSz="913626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19705" y="5483228"/>
            <a:ext cx="1907124" cy="6910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80337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AAD403E6-FF96-BE4B-84CA-676501F01629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8" y="1085376"/>
            <a:ext cx="8375652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38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cabezado de 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3" y="6264011"/>
            <a:ext cx="1510612" cy="153889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8EEDE2B-4951-7742-A2AB-6ED26DAF47B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7" y="6264011"/>
            <a:ext cx="8381999" cy="153889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7" y="6264011"/>
            <a:ext cx="762000" cy="153889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34503" y="1363687"/>
            <a:ext cx="6076986" cy="2054225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879090" y="2344102"/>
            <a:ext cx="1098240" cy="38084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63" tIns="45681" rIns="91363" bIns="45681" rtlCol="0" anchor="ctr"/>
          <a:lstStyle/>
          <a:p>
            <a:pPr algn="ctr" defTabSz="913626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00484" y="690092"/>
            <a:ext cx="1326339" cy="4805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170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282834" y="596118"/>
            <a:ext cx="6842160" cy="3515509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137532" y="141702"/>
            <a:ext cx="1901985" cy="6595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63" tIns="45681" rIns="91363" bIns="45681" rtlCol="0" anchor="ctr"/>
          <a:lstStyle/>
          <a:p>
            <a:pPr algn="ctr" defTabSz="913626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0100484" y="690093"/>
            <a:ext cx="1326339" cy="480797"/>
            <a:chOff x="0" y="768"/>
            <a:chExt cx="7680" cy="2784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013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3" y="6264011"/>
            <a:ext cx="1510612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665BF3-01B1-BB48-9C6F-CE3BE7E559A2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7" y="6264011"/>
            <a:ext cx="8381999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Presentation footer 10PT grey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7" y="6264011"/>
            <a:ext cx="762000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0414" y="690590"/>
            <a:ext cx="427668" cy="2052619"/>
            <a:chOff x="760413" y="690580"/>
            <a:chExt cx="544156" cy="2611716"/>
          </a:xfrm>
        </p:grpSpPr>
        <p:sp>
          <p:nvSpPr>
            <p:cNvPr id="8" name="Rectangle 7"/>
            <p:cNvSpPr/>
            <p:nvPr userDrawn="1"/>
          </p:nvSpPr>
          <p:spPr>
            <a:xfrm>
              <a:off x="760413" y="690580"/>
              <a:ext cx="544156" cy="18869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913626"/>
              <a:endParaRPr lang="en-GB" dirty="0">
                <a:solidFill>
                  <a:srgbClr val="0655FA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60413" y="2565815"/>
              <a:ext cx="544156" cy="73648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80000"/>
                  </a:schemeClr>
                </a:gs>
                <a:gs pos="95000">
                  <a:schemeClr val="bg1">
                    <a:alpha val="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524001" y="596126"/>
            <a:ext cx="7600986" cy="1889163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10100484" y="690093"/>
            <a:ext cx="1326339" cy="480797"/>
            <a:chOff x="0" y="768"/>
            <a:chExt cx="7680" cy="2784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3847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759401" y="688247"/>
            <a:ext cx="5642084" cy="4733985"/>
            <a:chOff x="759392" y="688247"/>
            <a:chExt cx="5642083" cy="4733986"/>
          </a:xfrm>
        </p:grpSpPr>
        <p:sp>
          <p:nvSpPr>
            <p:cNvPr id="6" name="Freeform 9"/>
            <p:cNvSpPr>
              <a:spLocks/>
            </p:cNvSpPr>
            <p:nvPr userDrawn="1"/>
          </p:nvSpPr>
          <p:spPr bwMode="auto">
            <a:xfrm>
              <a:off x="1746388" y="688247"/>
              <a:ext cx="4655087" cy="4733986"/>
            </a:xfrm>
            <a:custGeom>
              <a:avLst/>
              <a:gdLst>
                <a:gd name="T0" fmla="*/ 0 w 1474"/>
                <a:gd name="T1" fmla="*/ 0 h 1499"/>
                <a:gd name="T2" fmla="*/ 0 w 1474"/>
                <a:gd name="T3" fmla="*/ 1085 h 1499"/>
                <a:gd name="T4" fmla="*/ 1 w 1474"/>
                <a:gd name="T5" fmla="*/ 1085 h 1499"/>
                <a:gd name="T6" fmla="*/ 389 w 1474"/>
                <a:gd name="T7" fmla="*/ 1473 h 1499"/>
                <a:gd name="T8" fmla="*/ 388 w 1474"/>
                <a:gd name="T9" fmla="*/ 1499 h 1499"/>
                <a:gd name="T10" fmla="*/ 1473 w 1474"/>
                <a:gd name="T11" fmla="*/ 1499 h 1499"/>
                <a:gd name="T12" fmla="*/ 1474 w 1474"/>
                <a:gd name="T13" fmla="*/ 1473 h 1499"/>
                <a:gd name="T14" fmla="*/ 1 w 1474"/>
                <a:gd name="T15" fmla="*/ 0 h 1499"/>
                <a:gd name="T16" fmla="*/ 0 w 1474"/>
                <a:gd name="T1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4" h="1499">
                  <a:moveTo>
                    <a:pt x="0" y="0"/>
                  </a:moveTo>
                  <a:cubicBezTo>
                    <a:pt x="0" y="1085"/>
                    <a:pt x="0" y="1085"/>
                    <a:pt x="0" y="1085"/>
                  </a:cubicBezTo>
                  <a:cubicBezTo>
                    <a:pt x="0" y="1085"/>
                    <a:pt x="0" y="1085"/>
                    <a:pt x="1" y="1085"/>
                  </a:cubicBezTo>
                  <a:cubicBezTo>
                    <a:pt x="215" y="1085"/>
                    <a:pt x="389" y="1258"/>
                    <a:pt x="389" y="1473"/>
                  </a:cubicBezTo>
                  <a:cubicBezTo>
                    <a:pt x="389" y="1482"/>
                    <a:pt x="389" y="1490"/>
                    <a:pt x="388" y="1499"/>
                  </a:cubicBezTo>
                  <a:cubicBezTo>
                    <a:pt x="1473" y="1499"/>
                    <a:pt x="1473" y="1499"/>
                    <a:pt x="1473" y="1499"/>
                  </a:cubicBezTo>
                  <a:cubicBezTo>
                    <a:pt x="1473" y="1490"/>
                    <a:pt x="1474" y="1482"/>
                    <a:pt x="1474" y="1473"/>
                  </a:cubicBezTo>
                  <a:cubicBezTo>
                    <a:pt x="1474" y="659"/>
                    <a:pt x="81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adFill flip="none" rotWithShape="1">
              <a:gsLst>
                <a:gs pos="33500">
                  <a:srgbClr val="55BD5A">
                    <a:alpha val="69000"/>
                  </a:srgbClr>
                </a:gs>
                <a:gs pos="8000">
                  <a:schemeClr val="accent6"/>
                </a:gs>
                <a:gs pos="59000">
                  <a:schemeClr val="accent6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759392" y="688247"/>
              <a:ext cx="986996" cy="3422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913626"/>
              <a:endParaRPr lang="en-GB" dirty="0">
                <a:solidFill>
                  <a:srgbClr val="0655FA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282831" y="1371610"/>
            <a:ext cx="6076986" cy="2054225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3" y="6264011"/>
            <a:ext cx="1510612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8DFA76-D78C-7D45-84F6-FBB9E6458DE1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7" y="6264011"/>
            <a:ext cx="8381999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Presentation footer 10PT grey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7" y="6264011"/>
            <a:ext cx="762000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10100484" y="690093"/>
            <a:ext cx="1326339" cy="480797"/>
            <a:chOff x="0" y="768"/>
            <a:chExt cx="7680" cy="2784"/>
          </a:xfrm>
        </p:grpSpPr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3252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16200000">
            <a:off x="1978240" y="-527247"/>
            <a:ext cx="986997" cy="3422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63" tIns="45681" rIns="91363" bIns="45681" rtlCol="0" anchor="ctr"/>
          <a:lstStyle/>
          <a:p>
            <a:pPr algn="ctr" defTabSz="913626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3" y="6264011"/>
            <a:ext cx="1510612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D73F4D-84A4-FC48-8328-90C09493176A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7" y="6264011"/>
            <a:ext cx="8381999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Presentation footer 10PT grey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7" y="6264011"/>
            <a:ext cx="762000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" name="Group 3"/>
          <p:cNvGrpSpPr/>
          <p:nvPr userDrawn="1"/>
        </p:nvGrpSpPr>
        <p:grpSpPr>
          <a:xfrm>
            <a:off x="760421" y="1677587"/>
            <a:ext cx="3900335" cy="3805648"/>
            <a:chOff x="760412" y="1677577"/>
            <a:chExt cx="3863129" cy="3477448"/>
          </a:xfrm>
        </p:grpSpPr>
        <p:sp>
          <p:nvSpPr>
            <p:cNvPr id="3" name="Parallelogram 2"/>
            <p:cNvSpPr/>
            <p:nvPr userDrawn="1"/>
          </p:nvSpPr>
          <p:spPr>
            <a:xfrm flipH="1">
              <a:off x="760412" y="1677577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en-GB" dirty="0" err="1">
                <a:solidFill>
                  <a:prstClr val="black"/>
                </a:solidFill>
              </a:endParaRPr>
            </a:p>
          </p:txBody>
        </p:sp>
        <p:sp>
          <p:nvSpPr>
            <p:cNvPr id="15" name="Parallelogram 14"/>
            <p:cNvSpPr/>
            <p:nvPr userDrawn="1"/>
          </p:nvSpPr>
          <p:spPr>
            <a:xfrm>
              <a:off x="767503" y="3416301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en-GB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46800" y="2065050"/>
            <a:ext cx="6076986" cy="2054225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10100484" y="690093"/>
            <a:ext cx="1326339" cy="480797"/>
            <a:chOff x="0" y="768"/>
            <a:chExt cx="7680" cy="2784"/>
          </a:xfrm>
        </p:grpSpPr>
        <p:sp>
          <p:nvSpPr>
            <p:cNvPr id="16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/>
              <a:endParaRPr lang="sv-SE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4977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6" y="615086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9" y="2057399"/>
            <a:ext cx="5330826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7D4C6-EA1E-7748-8D26-B44A63FDFE33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8" y="1085376"/>
            <a:ext cx="8375652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277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9" y="2057399"/>
            <a:ext cx="3554412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4" y="2057399"/>
            <a:ext cx="3554410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BF55B-9869-0E45-B986-8EB86A00C150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0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8" y="1085376"/>
            <a:ext cx="8375652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52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E1C19-7526-424E-BFA6-F826B78A7CB0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8" y="1085376"/>
            <a:ext cx="8375652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466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0FF18-AC50-3142-9EF1-53E30D3BF1C5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Presentation footer 10PT grey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3" y="-394416"/>
            <a:ext cx="878042" cy="3044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63" tIns="45681" rIns="91363" bIns="45681" rtlCol="0" anchor="ctr"/>
          <a:lstStyle/>
          <a:p>
            <a:pPr algn="ctr" defTabSz="913626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9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794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686B6-A166-D84A-95C6-F9F4B2599B87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8" y="1085376"/>
            <a:ext cx="8375652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052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7F53D-92EE-B146-A309-B3AE8F8662F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75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629"/>
          <a:ext cx="161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9" y="1629"/>
                        <a:ext cx="1618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5758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 smtClean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 userDrawn="1"/>
        </p:nvGrpSpPr>
        <p:grpSpPr bwMode="auto">
          <a:xfrm>
            <a:off x="9" y="10"/>
            <a:ext cx="12187680" cy="6858000"/>
            <a:chOff x="0" y="0"/>
            <a:chExt cx="5643" cy="4234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45" y="2436"/>
              <a:ext cx="2965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44000" tIns="0" rIns="14400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GB" sz="2000" dirty="0" smtClean="0">
                  <a:solidFill>
                    <a:srgbClr val="DC440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45" y="2663"/>
              <a:ext cx="2965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44000" tIns="0" rIns="14400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GB" sz="2000" dirty="0" smtClean="0">
                  <a:solidFill>
                    <a:srgbClr val="DC440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e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2" y="6574554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77491" y="1758901"/>
            <a:ext cx="7771650" cy="1396220"/>
          </a:xfrm>
        </p:spPr>
        <p:txBody>
          <a:bodyPr anchor="t">
            <a:noAutofit/>
          </a:bodyPr>
          <a:lstStyle>
            <a:lvl1pPr algn="l">
              <a:defRPr sz="49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329229" y="3498665"/>
            <a:ext cx="6233572" cy="282625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66131" indent="0" algn="ctr">
              <a:buNone/>
              <a:defRPr sz="2000"/>
            </a:lvl2pPr>
            <a:lvl3pPr marL="932271" indent="0" algn="ctr">
              <a:buNone/>
              <a:defRPr sz="1800"/>
            </a:lvl3pPr>
            <a:lvl4pPr marL="1398407" indent="0" algn="ctr">
              <a:buNone/>
              <a:defRPr sz="1600"/>
            </a:lvl4pPr>
            <a:lvl5pPr marL="1864540" indent="0" algn="ctr">
              <a:buNone/>
              <a:defRPr sz="1600"/>
            </a:lvl5pPr>
            <a:lvl6pPr marL="2330677" indent="0" algn="ctr">
              <a:buNone/>
              <a:defRPr sz="1600"/>
            </a:lvl6pPr>
            <a:lvl7pPr marL="2796810" indent="0" algn="ctr">
              <a:buNone/>
              <a:defRPr sz="1600"/>
            </a:lvl7pPr>
            <a:lvl8pPr marL="3262945" indent="0" algn="ctr">
              <a:buNone/>
              <a:defRPr sz="1600"/>
            </a:lvl8pPr>
            <a:lvl9pPr marL="3729082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10"/>
          </p:nvPr>
        </p:nvSpPr>
        <p:spPr>
          <a:xfrm>
            <a:off x="781088" y="3498665"/>
            <a:ext cx="1541319" cy="282625"/>
          </a:xfrm>
          <a:prstGeom prst="rect">
            <a:avLst/>
          </a:prstGeom>
        </p:spPr>
        <p:txBody>
          <a:bodyPr lIns="93226" tIns="46614" rIns="93226" bIns="46614"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Rectangle 8"/>
          <p:cNvSpPr/>
          <p:nvPr userDrawn="1"/>
        </p:nvSpPr>
        <p:spPr>
          <a:xfrm rot="16200000">
            <a:off x="1648190" y="-160999"/>
            <a:ext cx="705650" cy="2447046"/>
          </a:xfrm>
          <a:prstGeom prst="rect">
            <a:avLst/>
          </a:prstGeom>
          <a:solidFill>
            <a:srgbClr val="C6C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3226" tIns="46614" rIns="93226" bIns="46614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prstClr val="black"/>
              </a:solidFill>
            </a:endParaRPr>
          </a:p>
        </p:txBody>
      </p:sp>
      <p:pic>
        <p:nvPicPr>
          <p:cNvPr id="20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713215" y="5594601"/>
            <a:ext cx="1945890" cy="705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10691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72002" y="72000"/>
            <a:ext cx="9024000" cy="37683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6C0D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40009" y="1008000"/>
            <a:ext cx="11712000" cy="12309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D96"/>
                </a:solidFill>
              </a:defRPr>
            </a:lvl1pPr>
            <a:lvl2pPr>
              <a:spcAft>
                <a:spcPts val="0"/>
              </a:spcAft>
              <a:defRPr/>
            </a:lvl2pPr>
            <a:lvl3pPr>
              <a:lnSpc>
                <a:spcPct val="90000"/>
              </a:lnSpc>
              <a:spcAft>
                <a:spcPts val="0"/>
              </a:spcAft>
              <a:defRPr/>
            </a:lvl3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7" name="2 Subtítulo"/>
          <p:cNvSpPr>
            <a:spLocks noGrp="1"/>
          </p:cNvSpPr>
          <p:nvPr>
            <p:ph type="subTitle" idx="13"/>
          </p:nvPr>
        </p:nvSpPr>
        <p:spPr>
          <a:xfrm>
            <a:off x="3072002" y="627144"/>
            <a:ext cx="9024000" cy="329729"/>
          </a:xfrm>
          <a:prstGeom prst="rect">
            <a:avLst/>
          </a:prstGeom>
        </p:spPr>
        <p:txBody>
          <a:bodyPr anchor="ctr"/>
          <a:lstStyle>
            <a:lvl1pPr marL="0" indent="0" algn="r" rtl="0" fontAlgn="base">
              <a:spcBef>
                <a:spcPct val="50000"/>
              </a:spcBef>
              <a:spcAft>
                <a:spcPct val="0"/>
              </a:spcAft>
              <a:buNone/>
              <a:defRPr lang="es-ES" sz="2100" b="1" kern="1200" dirty="0">
                <a:solidFill>
                  <a:srgbClr val="003D9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4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3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4"/>
          </p:nvPr>
        </p:nvSpPr>
        <p:spPr>
          <a:xfrm>
            <a:off x="609600" y="6356359"/>
            <a:ext cx="2844800" cy="365126"/>
          </a:xfrm>
          <a:prstGeom prst="rect">
            <a:avLst/>
          </a:prstGeom>
        </p:spPr>
        <p:txBody>
          <a:bodyPr lIns="121821" tIns="60910" rIns="121821" bIns="60910"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5"/>
          </p:nvPr>
        </p:nvSpPr>
        <p:spPr>
          <a:xfrm>
            <a:off x="4165601" y="6356359"/>
            <a:ext cx="3860800" cy="365126"/>
          </a:xfrm>
          <a:prstGeom prst="rect">
            <a:avLst/>
          </a:prstGeom>
        </p:spPr>
        <p:txBody>
          <a:bodyPr lIns="121821" tIns="60910" rIns="121821" bIns="60910"/>
          <a:lstStyle>
            <a:lvl1pPr algn="l"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s-ES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0664827" y="6264011"/>
            <a:ext cx="762000" cy="15388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defTabSz="896017" rtl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2">
                    <a:lumMod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113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AAD403E6-FF96-BE4B-84CA-676501F01629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6" y="1085375"/>
            <a:ext cx="8375652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004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18055" y="345006"/>
            <a:ext cx="9182941" cy="376834"/>
          </a:xfrm>
        </p:spPr>
        <p:txBody>
          <a:bodyPr/>
          <a:lstStyle>
            <a:lvl1pPr>
              <a:defRPr sz="2400" b="0">
                <a:solidFill>
                  <a:srgbClr val="0033A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4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18055" y="731079"/>
            <a:ext cx="9182941" cy="360000"/>
          </a:xfrm>
          <a:prstGeom prst="rect">
            <a:avLst/>
          </a:prstGeom>
        </p:spPr>
        <p:txBody>
          <a:bodyPr/>
          <a:lstStyle>
            <a:lvl1pPr marL="0" indent="0" algn="l" defTabSz="456816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i="1" kern="1200" cap="none" baseline="0" dirty="0">
                <a:solidFill>
                  <a:schemeClr val="bg1">
                    <a:lumMod val="50000"/>
                  </a:schemeClr>
                </a:solidFill>
                <a:latin typeface="Arial"/>
                <a:ea typeface="+mj-ea"/>
                <a:cs typeface="Arial"/>
              </a:defRPr>
            </a:lvl1pPr>
            <a:lvl2pPr marL="456816" indent="0">
              <a:buNone/>
              <a:defRPr/>
            </a:lvl2pPr>
            <a:lvl3pPr marL="913626" indent="0">
              <a:buNone/>
              <a:defRPr/>
            </a:lvl3pPr>
            <a:lvl4pPr marL="1370438" indent="0">
              <a:buNone/>
              <a:defRPr/>
            </a:lvl4pPr>
            <a:lvl5pPr marL="1827250" indent="0">
              <a:buNone/>
              <a:defRPr/>
            </a:lvl5pPr>
          </a:lstStyle>
          <a:p>
            <a:pPr lvl="0"/>
            <a:r>
              <a:rPr lang="en-GB" smtClean="0"/>
              <a:t>Sottotitolo</a:t>
            </a:r>
            <a:endParaRPr lang="en-GB" dirty="0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7" y="6264011"/>
            <a:ext cx="762000" cy="15388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637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lvl="0">
              <a:defRPr sz="1000" baseline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 marL="349849">
              <a:defRPr sz="1224"/>
            </a:lvl2pPr>
            <a:lvl3pPr marL="699699">
              <a:defRPr sz="1224"/>
            </a:lvl3pPr>
            <a:lvl4pPr marL="1049548">
              <a:defRPr sz="1224"/>
            </a:lvl4pPr>
            <a:lvl5pPr marL="1399398">
              <a:defRPr sz="1224"/>
            </a:lvl5pPr>
            <a:lvl6pPr marL="1749247" defTabSz="699699">
              <a:defRPr sz="1224"/>
            </a:lvl6pPr>
            <a:lvl7pPr marL="2099097" defTabSz="699699">
              <a:defRPr sz="1224"/>
            </a:lvl7pPr>
            <a:lvl8pPr marL="2448946" defTabSz="699699">
              <a:defRPr sz="1224"/>
            </a:lvl8pPr>
            <a:lvl9pPr marL="2798796" defTabSz="699699">
              <a:defRPr sz="1224"/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C6C6C6">
                    <a:lumMod val="75000"/>
                  </a:srgbClr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7838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558646" y="345010"/>
            <a:ext cx="9230356" cy="376833"/>
          </a:xfrm>
          <a:prstGeom prst="rect">
            <a:avLst/>
          </a:prstGeom>
        </p:spPr>
        <p:txBody>
          <a:bodyPr lIns="93281" tIns="46641" rIns="93281" bIns="46641"/>
          <a:lstStyle>
            <a:lvl1pPr>
              <a:defRPr sz="2400" b="0">
                <a:solidFill>
                  <a:srgbClr val="0033A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9" y="656644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8916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558646" y="345010"/>
            <a:ext cx="9230356" cy="376833"/>
          </a:xfrm>
          <a:prstGeom prst="rect">
            <a:avLst/>
          </a:prstGeom>
        </p:spPr>
        <p:txBody>
          <a:bodyPr lIns="93281" tIns="46641" rIns="93281" bIns="46641"/>
          <a:lstStyle>
            <a:lvl1pPr>
              <a:defRPr sz="2400" b="0">
                <a:solidFill>
                  <a:srgbClr val="0033A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9" y="656644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05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558646" y="345010"/>
            <a:ext cx="9230356" cy="376833"/>
          </a:xfrm>
          <a:prstGeom prst="rect">
            <a:avLst/>
          </a:prstGeom>
        </p:spPr>
        <p:txBody>
          <a:bodyPr lIns="93281" tIns="46641" rIns="93281" bIns="46641"/>
          <a:lstStyle>
            <a:lvl1pPr>
              <a:defRPr sz="2400" b="0">
                <a:solidFill>
                  <a:srgbClr val="0033A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9" y="656644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2963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558646" y="345010"/>
            <a:ext cx="9230356" cy="376833"/>
          </a:xfrm>
          <a:prstGeom prst="rect">
            <a:avLst/>
          </a:prstGeom>
        </p:spPr>
        <p:txBody>
          <a:bodyPr lIns="93281" tIns="46641" rIns="93281" bIns="46641"/>
          <a:lstStyle>
            <a:lvl1pPr>
              <a:defRPr sz="2400" b="0">
                <a:solidFill>
                  <a:srgbClr val="0033A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9" y="656644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502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1" y="5483499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7282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685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6" y="615086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336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76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40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02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Presentation footer 10PT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375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502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4996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433918" y="1692277"/>
            <a:ext cx="11140016" cy="4283075"/>
          </a:xfrm>
          <a:prstGeom prst="rect">
            <a:avLst/>
          </a:prstGeom>
        </p:spPr>
        <p:txBody>
          <a:bodyPr lIns="91436" tIns="0" rIns="91436" bIns="45718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0">
              <a:buFont typeface="Arial"/>
              <a:buNone/>
              <a:defRPr/>
            </a:pPr>
            <a:endParaRPr lang="it-IT" dirty="0">
              <a:solidFill>
                <a:srgbClr val="000000">
                  <a:tint val="75000"/>
                </a:srgbClr>
              </a:solidFill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32000" y="1692000"/>
            <a:ext cx="11140800" cy="4284000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6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4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19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 Testo su una colonna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804800" y="332696"/>
            <a:ext cx="8558400" cy="360000"/>
          </a:xfrm>
          <a:prstGeom prst="rect">
            <a:avLst/>
          </a:prstGeom>
        </p:spPr>
        <p:txBody>
          <a:bodyPr lIns="91436" tIns="45718" rIns="91436" bIns="45718"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804800" y="692736"/>
            <a:ext cx="8558400" cy="360000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l" defTabSz="45718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180" indent="0">
              <a:buNone/>
              <a:defRPr/>
            </a:lvl2pPr>
            <a:lvl3pPr marL="914360" indent="0">
              <a:buNone/>
              <a:defRPr/>
            </a:lvl3pPr>
            <a:lvl4pPr marL="1371540" indent="0">
              <a:buNone/>
              <a:defRPr/>
            </a:lvl4pPr>
            <a:lvl5pPr marL="1828719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62205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629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2" y="1723879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09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9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2" y="5483501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3375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430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6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4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7" y="615088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3442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401"/>
            <a:ext cx="533400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2057401"/>
            <a:ext cx="5330825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141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1" y="2057401"/>
            <a:ext cx="3554412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4" y="2057401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2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938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803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Presentation footer 10PT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925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0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9567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D8611-EBAB-B04C-8EA8-288E351AF36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The Enel Group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30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6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BE0B9A1A-85C1-4544-80DF-DF1ED4AB266B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  <p:sp>
        <p:nvSpPr>
          <p:cNvPr id="13" name="Titolo 1"/>
          <p:cNvSpPr>
            <a:spLocks noGrp="1"/>
          </p:cNvSpPr>
          <p:nvPr>
            <p:ph type="title" hasCustomPrompt="1"/>
          </p:nvPr>
        </p:nvSpPr>
        <p:spPr>
          <a:xfrm>
            <a:off x="1804800" y="443596"/>
            <a:ext cx="8558400" cy="480000"/>
          </a:xfrm>
          <a:prstGeom prst="rect">
            <a:avLst/>
          </a:prstGeom>
        </p:spPr>
        <p:txBody>
          <a:bodyPr/>
          <a:lstStyle>
            <a:lvl1pPr algn="l"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err="1" smtClean="0"/>
              <a:t>Page</a:t>
            </a:r>
            <a:r>
              <a:rPr lang="it-IT" dirty="0" smtClean="0"/>
              <a:t> Title</a:t>
            </a:r>
            <a:endParaRPr lang="it-IT" dirty="0"/>
          </a:p>
        </p:txBody>
      </p:sp>
      <p:sp>
        <p:nvSpPr>
          <p:cNvPr id="14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804800" y="923649"/>
            <a:ext cx="8558400" cy="480000"/>
          </a:xfrm>
          <a:prstGeom prst="rect">
            <a:avLst/>
          </a:prstGeom>
        </p:spPr>
        <p:txBody>
          <a:bodyPr/>
          <a:lstStyle>
            <a:lvl1pPr marL="0" indent="0" algn="l" defTabSz="609524" rtl="0" eaLnBrk="1" latinLnBrk="0" hangingPunct="1">
              <a:lnSpc>
                <a:spcPts val="3733"/>
              </a:lnSpc>
              <a:spcBef>
                <a:spcPct val="0"/>
              </a:spcBef>
              <a:buNone/>
              <a:defRPr lang="it-IT" sz="27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609524" indent="0">
              <a:buNone/>
              <a:defRPr/>
            </a:lvl2pPr>
            <a:lvl3pPr marL="1219048" indent="0">
              <a:buNone/>
              <a:defRPr/>
            </a:lvl3pPr>
            <a:lvl4pPr marL="1828571" indent="0">
              <a:buNone/>
              <a:defRPr/>
            </a:lvl4pPr>
            <a:lvl5pPr marL="2438095" indent="0">
              <a:buNone/>
              <a:defRPr/>
            </a:lvl5pPr>
          </a:lstStyle>
          <a:p>
            <a:pPr lvl="0"/>
            <a:r>
              <a:rPr lang="it-IT" dirty="0" err="1" smtClean="0"/>
              <a:t>Subtitle</a:t>
            </a:r>
            <a:r>
              <a:rPr lang="it-IT" dirty="0" smtClean="0"/>
              <a:t> (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any</a:t>
            </a:r>
            <a:r>
              <a:rPr lang="it-IT" dirty="0" smtClean="0"/>
              <a:t>)</a:t>
            </a:r>
          </a:p>
        </p:txBody>
      </p:sp>
      <p:sp>
        <p:nvSpPr>
          <p:cNvPr id="15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527384" y="2256003"/>
            <a:ext cx="11137237" cy="3861299"/>
          </a:xfrm>
          <a:prstGeom prst="rect">
            <a:avLst/>
          </a:prstGeom>
        </p:spPr>
        <p:txBody>
          <a:bodyPr/>
          <a:lstStyle>
            <a:lvl1pPr marL="1434920" indent="239154">
              <a:lnSpc>
                <a:spcPts val="2800"/>
              </a:lnSpc>
              <a:buFont typeface="Wingdings" pitchFamily="2" charset="2"/>
              <a:buChar char="§"/>
              <a:defRPr sz="19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13228" indent="-239154">
              <a:lnSpc>
                <a:spcPts val="2800"/>
              </a:lnSpc>
              <a:buClr>
                <a:srgbClr val="A8A9AD"/>
              </a:buClr>
              <a:buFont typeface="Arial" pitchFamily="34" charset="0"/>
              <a:buChar char="›"/>
              <a:defRPr sz="16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150265" marR="0" indent="-237037" algn="l" defTabSz="1219048" rtl="0" eaLnBrk="1" fontAlgn="auto" latinLnBrk="0" hangingPunct="1">
              <a:lnSpc>
                <a:spcPts val="28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 sz="13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571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095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 smtClean="0"/>
              <a:t>Bullet</a:t>
            </a:r>
            <a:r>
              <a:rPr lang="it-IT" dirty="0" smtClean="0"/>
              <a:t> 1°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1"/>
            <a:r>
              <a:rPr lang="it-IT" dirty="0" err="1" smtClean="0"/>
              <a:t>Bullet</a:t>
            </a:r>
            <a:r>
              <a:rPr lang="it-IT" dirty="0" smtClean="0"/>
              <a:t> 2°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err="1" smtClean="0"/>
              <a:t>Bullet</a:t>
            </a:r>
            <a:r>
              <a:rPr lang="it-IT" dirty="0" smtClean="0"/>
              <a:t> 3° </a:t>
            </a:r>
            <a:r>
              <a:rPr lang="it-IT" dirty="0" err="1" smtClean="0"/>
              <a:t>level</a:t>
            </a:r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val="223235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3" y="1723881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11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11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50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3" y="5483503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2455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70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610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7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9" y="687826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3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9" y="615090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513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1" y="2057403"/>
            <a:ext cx="533400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1" y="2057403"/>
            <a:ext cx="5330825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70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009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2" y="2057403"/>
            <a:ext cx="3554412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5" y="2057403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5" y="2057404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1" y="1085370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6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70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291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Presentation footer 10PT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7"/>
            <a:ext cx="878042" cy="3044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5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9802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70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54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6795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D8611-EBAB-B04C-8EA8-288E351AF36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The Enel Group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70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88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14401" y="0"/>
            <a:ext cx="10363200" cy="979488"/>
          </a:xfrm>
          <a:prstGeom prst="rect">
            <a:avLst/>
          </a:prstGeom>
        </p:spPr>
        <p:txBody>
          <a:bodyPr lIns="80650" tIns="40325" rIns="80650" bIns="40325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828815" y="1468443"/>
            <a:ext cx="8879417" cy="4337051"/>
          </a:xfrm>
          <a:prstGeom prst="rect">
            <a:avLst/>
          </a:prstGeom>
        </p:spPr>
        <p:txBody>
          <a:bodyPr lIns="80650" tIns="40325" rIns="80650" bIns="40325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16630683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 userDrawn="1"/>
        </p:nvSpPr>
        <p:spPr>
          <a:xfrm>
            <a:off x="433919" y="1692279"/>
            <a:ext cx="11140016" cy="4283075"/>
          </a:xfrm>
          <a:prstGeom prst="rect">
            <a:avLst/>
          </a:prstGeom>
        </p:spPr>
        <p:txBody>
          <a:bodyPr lIns="91440" tIns="0" rIns="91440" bIns="4572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>
              <a:buFont typeface="Arial"/>
              <a:buNone/>
              <a:defRPr/>
            </a:pPr>
            <a:endParaRPr lang="it-IT" sz="2400" dirty="0">
              <a:solidFill>
                <a:srgbClr val="53565A">
                  <a:tint val="75000"/>
                </a:srgbClr>
              </a:solidFill>
              <a:cs typeface="Arial"/>
            </a:endParaRPr>
          </a:p>
        </p:txBody>
      </p:sp>
      <p:sp>
        <p:nvSpPr>
          <p:cNvPr id="6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6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6110644E-192B-4CEB-9353-BFC673122348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1391477" y="356712"/>
            <a:ext cx="8558400" cy="480000"/>
          </a:xfrm>
          <a:prstGeom prst="rect">
            <a:avLst/>
          </a:prstGeom>
        </p:spPr>
        <p:txBody>
          <a:bodyPr anchor="ctr"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err="1" smtClean="0"/>
              <a:t>Page</a:t>
            </a:r>
            <a:r>
              <a:rPr lang="it-IT" dirty="0" smtClean="0"/>
              <a:t> Title</a:t>
            </a:r>
            <a:endParaRPr lang="it-IT" dirty="0"/>
          </a:p>
        </p:txBody>
      </p:sp>
      <p:sp>
        <p:nvSpPr>
          <p:cNvPr id="8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91477" y="740701"/>
            <a:ext cx="8558400" cy="480000"/>
          </a:xfrm>
          <a:prstGeom prst="rect">
            <a:avLst/>
          </a:prstGeom>
        </p:spPr>
        <p:txBody>
          <a:bodyPr anchor="ctr"/>
          <a:lstStyle>
            <a:lvl1pPr marL="0" indent="0" algn="l" defTabSz="609555" rtl="0" eaLnBrk="1" latinLnBrk="0" hangingPunct="1">
              <a:lnSpc>
                <a:spcPts val="3733"/>
              </a:lnSpc>
              <a:spcBef>
                <a:spcPct val="0"/>
              </a:spcBef>
              <a:buNone/>
              <a:defRPr lang="it-IT" sz="2133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609555" indent="0">
              <a:buNone/>
              <a:defRPr/>
            </a:lvl2pPr>
            <a:lvl3pPr marL="1219110" indent="0">
              <a:buNone/>
              <a:defRPr/>
            </a:lvl3pPr>
            <a:lvl4pPr marL="1828664" indent="0">
              <a:buNone/>
              <a:defRPr/>
            </a:lvl4pPr>
            <a:lvl5pPr marL="2438218" indent="0">
              <a:buNone/>
              <a:defRPr/>
            </a:lvl5pPr>
          </a:lstStyle>
          <a:p>
            <a:pPr lvl="0"/>
            <a:r>
              <a:rPr lang="it-IT" dirty="0" err="1" smtClean="0"/>
              <a:t>Subtitle</a:t>
            </a:r>
            <a:r>
              <a:rPr lang="it-IT" dirty="0" smtClean="0"/>
              <a:t> (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any</a:t>
            </a:r>
            <a:r>
              <a:rPr lang="it-IT" dirty="0" smtClean="0"/>
              <a:t>)</a:t>
            </a:r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30626" y="2256000"/>
            <a:ext cx="11233999" cy="3861299"/>
          </a:xfrm>
          <a:prstGeom prst="rect">
            <a:avLst/>
          </a:prstGeom>
        </p:spPr>
        <p:txBody>
          <a:bodyPr numCol="2" spcCol="216000"/>
          <a:lstStyle>
            <a:lvl1pPr marL="0" indent="0">
              <a:lnSpc>
                <a:spcPts val="3733"/>
              </a:lnSpc>
              <a:buNone/>
              <a:defRPr sz="24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 smtClean="0"/>
              <a:t>Two</a:t>
            </a:r>
            <a:r>
              <a:rPr lang="it-IT" dirty="0" smtClean="0"/>
              <a:t> </a:t>
            </a:r>
            <a:r>
              <a:rPr lang="it-IT" dirty="0" err="1" smtClean="0"/>
              <a:t>column</a:t>
            </a:r>
            <a:r>
              <a:rPr lang="it-IT" dirty="0" smtClean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84980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4672" cy="68826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76342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7166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9861" y="3429007"/>
            <a:ext cx="1102964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41398260-6328-E741-AC17-38532B7FB8D6}" type="datetime1">
              <a:rPr lang="it-IT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2029689" y="-157777"/>
            <a:ext cx="691602" cy="2398296"/>
          </a:xfrm>
          <a:prstGeom prst="rect">
            <a:avLst/>
          </a:prstGeom>
          <a:solidFill>
            <a:srgbClr val="B2B3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>
              <a:solidFill>
                <a:prstClr val="black"/>
              </a:solidFill>
            </a:endParaRPr>
          </a:p>
        </p:txBody>
      </p:sp>
      <p:pic>
        <p:nvPicPr>
          <p:cNvPr id="8" name="Immagin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103" y="4358791"/>
            <a:ext cx="4209250" cy="18562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2895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0182205" y="816496"/>
            <a:ext cx="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en-US" sz="20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086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711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507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/>
          <a:p>
            <a:fld id="{854780A5-C5EE-4C63-88CC-32FFBFC5B30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70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2" y="1723879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09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9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>
                <a:solidFill>
                  <a:prstClr val="black"/>
                </a:solidFill>
              </a:rPr>
              <a:pPr/>
              <a:t>15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2" y="5483501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2054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86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6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4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7" y="615088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52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401"/>
            <a:ext cx="533400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2057401"/>
            <a:ext cx="5330825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456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1" y="2057401"/>
            <a:ext cx="3554412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4" y="2057401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2"/>
            <a:ext cx="355441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96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235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/>
              <a:pPr/>
              <a:t>15/03/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footer 10PT. Please add the relevant country to the footer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>
                <a:solidFill>
                  <a:prstClr val="white"/>
                </a:solidFill>
              </a:rPr>
              <a:pPr/>
              <a:t>15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Presentation footer 10PT. Please add the relevant country to the footer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0862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559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0577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D8611-EBAB-B04C-8EA8-288E351AF36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The Enel Group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8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925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14401" y="0"/>
            <a:ext cx="10363200" cy="979488"/>
          </a:xfrm>
          <a:prstGeom prst="rect">
            <a:avLst/>
          </a:prstGeom>
        </p:spPr>
        <p:txBody>
          <a:bodyPr lIns="80650" tIns="40325" rIns="80650" bIns="40325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828814" y="1468441"/>
            <a:ext cx="8879417" cy="4337051"/>
          </a:xfrm>
          <a:prstGeom prst="rect">
            <a:avLst/>
          </a:prstGeom>
        </p:spPr>
        <p:txBody>
          <a:bodyPr lIns="80650" tIns="40325" rIns="80650" bIns="40325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9408422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6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BE0B9A1A-85C1-4544-80DF-DF1ED4AB266B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  <p:sp>
        <p:nvSpPr>
          <p:cNvPr id="13" name="Titolo 1"/>
          <p:cNvSpPr>
            <a:spLocks noGrp="1"/>
          </p:cNvSpPr>
          <p:nvPr>
            <p:ph type="title" hasCustomPrompt="1"/>
          </p:nvPr>
        </p:nvSpPr>
        <p:spPr>
          <a:xfrm>
            <a:off x="1804800" y="443596"/>
            <a:ext cx="8558400" cy="480000"/>
          </a:xfrm>
          <a:prstGeom prst="rect">
            <a:avLst/>
          </a:prstGeom>
        </p:spPr>
        <p:txBody>
          <a:bodyPr/>
          <a:lstStyle>
            <a:lvl1pPr algn="l"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err="1" smtClean="0"/>
              <a:t>Page</a:t>
            </a:r>
            <a:r>
              <a:rPr lang="it-IT" dirty="0" smtClean="0"/>
              <a:t> Title</a:t>
            </a:r>
            <a:endParaRPr lang="it-IT" dirty="0"/>
          </a:p>
        </p:txBody>
      </p:sp>
      <p:sp>
        <p:nvSpPr>
          <p:cNvPr id="14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804800" y="923649"/>
            <a:ext cx="8558400" cy="480000"/>
          </a:xfrm>
          <a:prstGeom prst="rect">
            <a:avLst/>
          </a:prstGeom>
        </p:spPr>
        <p:txBody>
          <a:bodyPr/>
          <a:lstStyle>
            <a:lvl1pPr marL="0" indent="0" algn="l" defTabSz="609524" rtl="0" eaLnBrk="1" latinLnBrk="0" hangingPunct="1">
              <a:lnSpc>
                <a:spcPts val="3733"/>
              </a:lnSpc>
              <a:spcBef>
                <a:spcPct val="0"/>
              </a:spcBef>
              <a:buNone/>
              <a:defRPr lang="it-IT" sz="27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609524" indent="0">
              <a:buNone/>
              <a:defRPr/>
            </a:lvl2pPr>
            <a:lvl3pPr marL="1219048" indent="0">
              <a:buNone/>
              <a:defRPr/>
            </a:lvl3pPr>
            <a:lvl4pPr marL="1828571" indent="0">
              <a:buNone/>
              <a:defRPr/>
            </a:lvl4pPr>
            <a:lvl5pPr marL="2438095" indent="0">
              <a:buNone/>
              <a:defRPr/>
            </a:lvl5pPr>
          </a:lstStyle>
          <a:p>
            <a:pPr lvl="0"/>
            <a:r>
              <a:rPr lang="it-IT" dirty="0" err="1" smtClean="0"/>
              <a:t>Subtitle</a:t>
            </a:r>
            <a:r>
              <a:rPr lang="it-IT" dirty="0" smtClean="0"/>
              <a:t> (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any</a:t>
            </a:r>
            <a:r>
              <a:rPr lang="it-IT" dirty="0" smtClean="0"/>
              <a:t>)</a:t>
            </a:r>
          </a:p>
        </p:txBody>
      </p:sp>
      <p:sp>
        <p:nvSpPr>
          <p:cNvPr id="15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527384" y="2256003"/>
            <a:ext cx="11137237" cy="3861299"/>
          </a:xfrm>
          <a:prstGeom prst="rect">
            <a:avLst/>
          </a:prstGeom>
        </p:spPr>
        <p:txBody>
          <a:bodyPr/>
          <a:lstStyle>
            <a:lvl1pPr marL="1434920" indent="239154">
              <a:lnSpc>
                <a:spcPts val="2800"/>
              </a:lnSpc>
              <a:buFont typeface="Wingdings" pitchFamily="2" charset="2"/>
              <a:buChar char="§"/>
              <a:defRPr sz="19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13228" indent="-239154">
              <a:lnSpc>
                <a:spcPts val="2800"/>
              </a:lnSpc>
              <a:buClr>
                <a:srgbClr val="A8A9AD"/>
              </a:buClr>
              <a:buFont typeface="Arial" pitchFamily="34" charset="0"/>
              <a:buChar char="›"/>
              <a:defRPr sz="16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150265" marR="0" indent="-237037" algn="l" defTabSz="1219048" rtl="0" eaLnBrk="1" fontAlgn="auto" latinLnBrk="0" hangingPunct="1">
              <a:lnSpc>
                <a:spcPts val="28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 sz="13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571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095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 smtClean="0"/>
              <a:t>Bullet</a:t>
            </a:r>
            <a:r>
              <a:rPr lang="it-IT" dirty="0" smtClean="0"/>
              <a:t> 1°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1"/>
            <a:r>
              <a:rPr lang="it-IT" dirty="0" err="1" smtClean="0"/>
              <a:t>Bullet</a:t>
            </a:r>
            <a:r>
              <a:rPr lang="it-IT" dirty="0" smtClean="0"/>
              <a:t> 2°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err="1" smtClean="0"/>
              <a:t>Bullet</a:t>
            </a:r>
            <a:r>
              <a:rPr lang="it-IT" dirty="0" smtClean="0"/>
              <a:t> 3° </a:t>
            </a:r>
            <a:r>
              <a:rPr lang="it-IT" dirty="0" err="1" smtClean="0"/>
              <a:t>level</a:t>
            </a:r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val="1106435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2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3.xml"/><Relationship Id="rId28" Type="http://schemas.openxmlformats.org/officeDocument/2006/relationships/image" Target="../media/image5.jpe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image" Target="../media/image10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smtClean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noProof="0" smtClean="0"/>
              <a:pPr/>
              <a:t>15/03/2018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noProof="0" dirty="0" smtClean="0"/>
              <a:t>Presentation footer 10PT. Please add the relevant country to the footer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noProof="0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0" r:id="rId2"/>
    <p:sldLayoutId id="2147483665" r:id="rId3"/>
    <p:sldLayoutId id="2147483652" r:id="rId4"/>
    <p:sldLayoutId id="2147483657" r:id="rId5"/>
    <p:sldLayoutId id="2147483658" r:id="rId6"/>
    <p:sldLayoutId id="2147483659" r:id="rId7"/>
    <p:sldLayoutId id="2147483654" r:id="rId8"/>
    <p:sldLayoutId id="2147483655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smtClean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6267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784" r:id="rId12"/>
    <p:sldLayoutId id="2147483785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627" y="1628"/>
          <a:ext cx="161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" name="Diapositiva de think-cell" r:id="rId26" imgW="270" imgH="270" progId="">
                  <p:embed/>
                </p:oleObj>
              </mc:Choice>
              <mc:Fallback>
                <p:oleObj name="Diapositiva de think-cell" r:id="rId2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7" y="1628"/>
                        <a:ext cx="1618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8" y="670127"/>
            <a:ext cx="8375652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s-ES" noProof="0" smtClean="0"/>
              <a:t>Haga clic para modificar el estilo de título del patró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13"/>
            <a:ext cx="10664825" cy="4110147"/>
          </a:xfrm>
          <a:prstGeom prst="rect">
            <a:avLst/>
          </a:prstGeom>
        </p:spPr>
        <p:txBody>
          <a:bodyPr vert="horz" wrap="square" lIns="0" tIns="0" rIns="179848" bIns="0" rtlCol="0">
            <a:no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3" y="6264011"/>
            <a:ext cx="1510612" cy="15388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EB8018B4-E1FB-B74E-A39A-4200264D9A67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7" y="6264011"/>
            <a:ext cx="8381999" cy="15388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 grey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7" y="6264011"/>
            <a:ext cx="762000" cy="15388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 defTabSz="91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7" y="688982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63" tIns="45681" rIns="91363" bIns="45681" rtlCol="0" anchor="ctr"/>
          <a:lstStyle/>
          <a:p>
            <a:pPr algn="ctr" defTabSz="913626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10100484" y="690092"/>
            <a:ext cx="1326339" cy="4805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2433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</p:sldLayoutIdLst>
  <p:timing>
    <p:tnLst>
      <p:par>
        <p:cTn id="1" dur="indefinite" restart="never" nodeType="tmRoot"/>
      </p:par>
    </p:tnLst>
  </p:timing>
  <p:hf hdr="0"/>
  <p:txStyles>
    <p:titleStyle>
      <a:lvl1pPr algn="l" defTabSz="913626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626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637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509" indent="-285509" algn="l" defTabSz="91362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6379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293" indent="-269647" algn="l" defTabSz="91362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637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879" indent="-271232" algn="l" defTabSz="91362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637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0879" indent="-271232" algn="l" defTabSz="91362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468" indent="-228404" algn="l" defTabSz="9136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281" indent="-228404" algn="l" defTabSz="9136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094" indent="-228404" algn="l" defTabSz="9136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905" indent="-228404" algn="l" defTabSz="9136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2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8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5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3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5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8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0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pt-BR" noProof="0" smtClean="0"/>
              <a:t>Clique para editar o título mestr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788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6" r:id="rId10"/>
    <p:sldLayoutId id="2147483737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smtClean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6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7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4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0678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50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09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16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21" indent="-285721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169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96" indent="-269848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16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284" indent="-271436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16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284" indent="-271436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1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smtClean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1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7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9"/>
            <a:ext cx="196851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9" y="687826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586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4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1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9">
          <p15:clr>
            <a:srgbClr val="F26B43"/>
          </p15:clr>
        </p15:guide>
        <p15:guide id="7" pos="2399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1">
          <p15:clr>
            <a:srgbClr val="F26B43"/>
          </p15:clr>
        </p15:guide>
        <p15:guide id="11" pos="4799">
          <p15:clr>
            <a:srgbClr val="F26B43"/>
          </p15:clr>
        </p15:guide>
        <p15:guide id="12" pos="5279">
          <p15:clr>
            <a:srgbClr val="F26B43"/>
          </p15:clr>
        </p15:guide>
        <p15:guide id="13" pos="5757">
          <p15:clr>
            <a:srgbClr val="F26B43"/>
          </p15:clr>
        </p15:guide>
        <p15:guide id="14" pos="6237">
          <p15:clr>
            <a:srgbClr val="F26B43"/>
          </p15:clr>
        </p15:guide>
        <p15:guide id="15" pos="6719">
          <p15:clr>
            <a:srgbClr val="F26B43"/>
          </p15:clr>
        </p15:guide>
        <p15:guide id="16" pos="7199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12" name="Immagin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777" y="600482"/>
            <a:ext cx="2604555" cy="114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055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smtClean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15/03/2018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C6C6C6">
                    <a:lumMod val="75000"/>
                  </a:srgbClr>
                </a:solidFill>
              </a:rPr>
              <a:t>Presentation footer 10PT. Please add the relevant country to the footer.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6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7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4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3078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09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16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21" indent="-285721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169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96" indent="-269848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16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284" indent="-271436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169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284" indent="-271436" algn="l" defTabSz="91430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9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9208666" cy="1368425"/>
          </a:xfrm>
        </p:spPr>
        <p:txBody>
          <a:bodyPr/>
          <a:lstStyle/>
          <a:p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Enel Green Power </a:t>
            </a:r>
            <a:b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Brazil &amp; Uruguay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 err="1" smtClean="0">
                <a:solidFill>
                  <a:schemeClr val="accent1">
                    <a:lumMod val="50000"/>
                  </a:schemeClr>
                </a:solidFill>
              </a:rPr>
              <a:t>Março</a:t>
            </a:r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/2018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25643" y="4016926"/>
            <a:ext cx="11141242" cy="77067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200" b="0" dirty="0" smtClean="0">
                <a:solidFill>
                  <a:schemeClr val="accent1">
                    <a:lumMod val="50000"/>
                  </a:schemeClr>
                </a:solidFill>
              </a:rPr>
              <a:t>MME –Ministério de Minas e Energia</a:t>
            </a:r>
          </a:p>
          <a:p>
            <a:pPr algn="ctr"/>
            <a:r>
              <a:rPr lang="pt-BR" sz="3200" b="0" dirty="0" smtClean="0">
                <a:solidFill>
                  <a:schemeClr val="accent1">
                    <a:lumMod val="50000"/>
                  </a:schemeClr>
                </a:solidFill>
              </a:rPr>
              <a:t>Desafios da Implantação de Complexos Fotovoltaicos</a:t>
            </a:r>
            <a:endParaRPr lang="pt-BR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31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3"/>
          <p:cNvSpPr txBox="1">
            <a:spLocks/>
          </p:cNvSpPr>
          <p:nvPr/>
        </p:nvSpPr>
        <p:spPr>
          <a:xfrm>
            <a:off x="762002" y="1085370"/>
            <a:ext cx="10856257" cy="4207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/>
            <a:r>
              <a:rPr kumimoji="0" lang="it-IT" sz="23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ções obrigatorias não são suficientes, precisamos fazer mais... </a:t>
            </a:r>
          </a:p>
          <a:p>
            <a:pPr lvl="0" algn="just"/>
            <a:endParaRPr kumimoji="0" lang="en-US" sz="2300" i="0" u="none" strike="noStrike" kern="120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762001" y="1521372"/>
            <a:ext cx="10730751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ação de mão de obra local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e engajamento das comunidades locais por meio das ações de CSV; 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inamento e capacitação de equipes para a instalação das estruturas;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vidoria Móvel (Canal de comunicação da Enel);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ção junto aos Sindicatos</a:t>
            </a: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Lideranças.</a:t>
            </a:r>
          </a:p>
          <a:p>
            <a:pPr algn="just"/>
            <a:endParaRPr lang="pt-BR" sz="2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ixa disponibilidade hídrica nas proximidades dos </a:t>
            </a:r>
            <a:r>
              <a:rPr lang="pt-BR" sz="2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ques 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antamento prévio da identificação de poços na região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nda na fase </a:t>
            </a: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esenvolvimento;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ência </a:t>
            </a: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poços outorgados e/ou existentes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agilizar a regularização das outorgas</a:t>
            </a:r>
            <a:endParaRPr lang="pt-BR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endParaRPr lang="pt-BR" sz="22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30" y="4839664"/>
            <a:ext cx="5181601" cy="188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831" y="4840571"/>
            <a:ext cx="2506876" cy="187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4442" y="4839664"/>
            <a:ext cx="2290076" cy="187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Ambientais e seus processos de licenciamento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0255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96171" y="2756535"/>
            <a:ext cx="1065310" cy="1672541"/>
          </a:xfrm>
          <a:prstGeom prst="rect">
            <a:avLst/>
          </a:prstGeom>
        </p:spPr>
      </p:pic>
      <p:sp>
        <p:nvSpPr>
          <p:cNvPr id="11" name="Segnaposto testo 3"/>
          <p:cNvSpPr txBox="1">
            <a:spLocks/>
          </p:cNvSpPr>
          <p:nvPr/>
        </p:nvSpPr>
        <p:spPr>
          <a:xfrm>
            <a:off x="762002" y="979040"/>
            <a:ext cx="10856257" cy="4207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/>
            <a:r>
              <a:rPr lang="it-IT" sz="2300" b="1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Ex: Cluster Lapa</a:t>
            </a:r>
            <a:endParaRPr lang="it-IT" sz="2300" dirty="0" smtClean="0">
              <a:solidFill>
                <a:schemeClr val="accent1">
                  <a:lumMod val="50000"/>
                </a:schemeClr>
              </a:solidFill>
              <a:latin typeface="Arial"/>
            </a:endParaRPr>
          </a:p>
          <a:p>
            <a:pPr lvl="0" algn="just"/>
            <a:r>
              <a:rPr lang="it-IT" sz="2200" b="1" u="sng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Lapa &amp; Bom Jesus da Lapa</a:t>
            </a:r>
            <a:endParaRPr lang="it-IT" sz="2200" u="sng" dirty="0">
              <a:solidFill>
                <a:schemeClr val="accent1">
                  <a:lumMod val="50000"/>
                </a:schemeClr>
              </a:solidFill>
              <a:latin typeface="Arial"/>
            </a:endParaRPr>
          </a:p>
          <a:p>
            <a:pPr lvl="0" algn="just"/>
            <a:r>
              <a:rPr kumimoji="0" lang="it-IT" sz="23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lvl="0" algn="just"/>
            <a:endParaRPr kumimoji="0" lang="en-US" sz="2300" i="0" u="none" strike="noStrike" kern="120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627340" y="2010490"/>
            <a:ext cx="5486381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ssão de Licenças Ambientais em tempo muito curto, considerando os prazos  estabelecidos no </a:t>
            </a:r>
            <a:r>
              <a:rPr lang="pt-BR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lão LER-2015.</a:t>
            </a:r>
          </a:p>
          <a:p>
            <a:pPr marL="3429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pt-BR" sz="8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atégia </a:t>
            </a: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icenciamento focada no cumprimento do cronograma dos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tos;</a:t>
            </a:r>
          </a:p>
          <a:p>
            <a:pPr algn="just">
              <a:lnSpc>
                <a:spcPct val="150000"/>
              </a:lnSpc>
            </a:pPr>
            <a:endParaRPr lang="pt-BR" sz="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erência </a:t>
            </a: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Processo de Licenciamento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Órgão Estadual </a:t>
            </a:r>
            <a:r>
              <a:rPr lang="pt-BR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a esfera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.</a:t>
            </a:r>
            <a:endParaRPr lang="pt-BR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10766">
            <a:off x="6070433" y="4759397"/>
            <a:ext cx="1669242" cy="644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4577">
            <a:off x="8975820" y="3218060"/>
            <a:ext cx="861481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7"/>
          <p:cNvSpPr txBox="1"/>
          <p:nvPr/>
        </p:nvSpPr>
        <p:spPr>
          <a:xfrm>
            <a:off x="6495871" y="1855926"/>
            <a:ext cx="3509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/LI/LO Cluster Lapa - 120MW  </a:t>
            </a:r>
            <a:endParaRPr lang="pt-BR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636405">
            <a:off x="8660006" y="5160247"/>
            <a:ext cx="1300223" cy="630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9045307" y="2577212"/>
            <a:ext cx="12520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i="1" dirty="0" smtClean="0">
                <a:solidFill>
                  <a:schemeClr val="accent1">
                    <a:lumMod val="50000"/>
                  </a:schemeClr>
                </a:solidFill>
              </a:rPr>
              <a:t>Sucesso!</a:t>
            </a:r>
            <a:endParaRPr lang="pt-BR" sz="20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057000" y="5269291"/>
            <a:ext cx="19882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ação dos Processos de Licenciamento na esfera Municipal</a:t>
            </a:r>
            <a:endParaRPr lang="pt-BR" sz="14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8384479" y="3736579"/>
            <a:ext cx="20882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</a:pP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erência do Processo de </a:t>
            </a: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cenciamento do 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iental do Âmbito Estadual para o Municipal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6776271" y="3695536"/>
            <a:ext cx="12936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’s</a:t>
            </a:r>
            <a:r>
              <a:rPr lang="it-IT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itidas</a:t>
            </a:r>
          </a:p>
          <a:p>
            <a:pPr algn="just"/>
            <a:r>
              <a:rPr lang="it-IT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≈ 3 meses </a:t>
            </a:r>
            <a:endParaRPr lang="pt-BR" sz="14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74322">
            <a:off x="7456490" y="2515719"/>
            <a:ext cx="1693229" cy="75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>
            <a:off x="6947425" y="3179086"/>
            <a:ext cx="12936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’s</a:t>
            </a:r>
            <a:r>
              <a:rPr lang="it-IT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itidas</a:t>
            </a:r>
          </a:p>
          <a:p>
            <a:pPr algn="just"/>
            <a:r>
              <a:rPr lang="it-IT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≈ </a:t>
            </a:r>
            <a:r>
              <a:rPr lang="it-IT" sz="14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it-IT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ses </a:t>
            </a:r>
            <a:endParaRPr lang="pt-BR" sz="14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6872875" y="3702306"/>
            <a:ext cx="126900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6472823" y="2297525"/>
            <a:ext cx="19122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cenças emitidas dentro do Prazo</a:t>
            </a:r>
            <a:endParaRPr lang="pt-BR" sz="1400" b="1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Conector reto 19"/>
          <p:cNvCxnSpPr/>
          <p:nvPr/>
        </p:nvCxnSpPr>
        <p:spPr>
          <a:xfrm>
            <a:off x="6791342" y="2785681"/>
            <a:ext cx="126900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/>
          <p:cNvSpPr txBox="1"/>
          <p:nvPr/>
        </p:nvSpPr>
        <p:spPr>
          <a:xfrm>
            <a:off x="6791342" y="4181311"/>
            <a:ext cx="15117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a LP </a:t>
            </a:r>
            <a:r>
              <a:rPr lang="it-IT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tida via Município ≈ 1 mês </a:t>
            </a:r>
            <a:endParaRPr lang="pt-BR" sz="14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22" name="Conector reto 21"/>
          <p:cNvCxnSpPr/>
          <p:nvPr/>
        </p:nvCxnSpPr>
        <p:spPr>
          <a:xfrm>
            <a:off x="6872875" y="4188081"/>
            <a:ext cx="132615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Ambientais e seus processos de licenciamento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648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1"/>
          <p:cNvSpPr txBox="1">
            <a:spLocks/>
          </p:cNvSpPr>
          <p:nvPr/>
        </p:nvSpPr>
        <p:spPr>
          <a:xfrm>
            <a:off x="762002" y="958136"/>
            <a:ext cx="8985562" cy="480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0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pt-BR" sz="1800" dirty="0" smtClean="0">
                <a:solidFill>
                  <a:schemeClr val="accent1">
                    <a:lumMod val="50000"/>
                  </a:schemeClr>
                </a:solidFill>
              </a:rPr>
              <a:t>Dificuldades encontradas</a:t>
            </a:r>
            <a:endParaRPr lang="pt-BR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Regulatórios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929543" y="1947214"/>
            <a:ext cx="1015361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33607"/>
              </a:buClr>
            </a:pPr>
            <a:r>
              <a:rPr lang="pt-BR" b="1" dirty="0">
                <a:solidFill>
                  <a:srgbClr val="777777"/>
                </a:solidFill>
              </a:rPr>
              <a:t>Parecer de Acesso</a:t>
            </a:r>
          </a:p>
          <a:p>
            <a:pPr algn="ctr">
              <a:buClr>
                <a:srgbClr val="F33607"/>
              </a:buClr>
            </a:pPr>
            <a:r>
              <a:rPr lang="pt-BR" sz="1600" b="1" dirty="0"/>
              <a:t>Impacta nas tratativas de conexão com as transmissoras (CCT)</a:t>
            </a:r>
          </a:p>
        </p:txBody>
      </p:sp>
      <p:sp>
        <p:nvSpPr>
          <p:cNvPr id="27" name="Retângulo 26"/>
          <p:cNvSpPr/>
          <p:nvPr/>
        </p:nvSpPr>
        <p:spPr>
          <a:xfrm>
            <a:off x="1114261" y="3201333"/>
            <a:ext cx="996889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33607"/>
              </a:buClr>
            </a:pPr>
            <a:r>
              <a:rPr lang="pt-BR" b="1" dirty="0">
                <a:solidFill>
                  <a:srgbClr val="777777"/>
                </a:solidFill>
              </a:rPr>
              <a:t>Alteração das Características Técnicas</a:t>
            </a:r>
          </a:p>
          <a:p>
            <a:pPr algn="ctr">
              <a:buClr>
                <a:srgbClr val="F33607"/>
              </a:buClr>
            </a:pPr>
            <a:r>
              <a:rPr lang="pt-BR" sz="1600" b="1" dirty="0"/>
              <a:t>Duração Média dos processos: 330 dias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1083836" y="4351650"/>
            <a:ext cx="999931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33607"/>
              </a:buClr>
            </a:pPr>
            <a:r>
              <a:rPr lang="pt-BR" b="1" dirty="0">
                <a:solidFill>
                  <a:srgbClr val="777777"/>
                </a:solidFill>
              </a:rPr>
              <a:t>DUP</a:t>
            </a:r>
          </a:p>
          <a:p>
            <a:pPr algn="ctr">
              <a:buClr>
                <a:srgbClr val="F33607"/>
              </a:buClr>
            </a:pPr>
            <a:r>
              <a:rPr lang="pt-BR" sz="1600" b="1" dirty="0"/>
              <a:t>Necessidade de finalizar processo de alteração de características técnicas</a:t>
            </a:r>
          </a:p>
        </p:txBody>
      </p:sp>
      <p:sp>
        <p:nvSpPr>
          <p:cNvPr id="30" name="Retângulo de cantos arredondados 29"/>
          <p:cNvSpPr/>
          <p:nvPr/>
        </p:nvSpPr>
        <p:spPr>
          <a:xfrm>
            <a:off x="1045200" y="1847984"/>
            <a:ext cx="9999318" cy="919361"/>
          </a:xfrm>
          <a:prstGeom prst="roundRect">
            <a:avLst/>
          </a:prstGeom>
          <a:noFill/>
          <a:ln>
            <a:solidFill>
              <a:srgbClr val="24509A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 err="1" smtClean="0"/>
          </a:p>
        </p:txBody>
      </p:sp>
      <p:sp>
        <p:nvSpPr>
          <p:cNvPr id="33" name="Retângulo 32"/>
          <p:cNvSpPr/>
          <p:nvPr/>
        </p:nvSpPr>
        <p:spPr>
          <a:xfrm>
            <a:off x="1114261" y="5526491"/>
            <a:ext cx="996889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33607"/>
              </a:buClr>
            </a:pPr>
            <a:r>
              <a:rPr lang="pt-BR" b="1" dirty="0" smtClean="0">
                <a:solidFill>
                  <a:srgbClr val="777777"/>
                </a:solidFill>
              </a:rPr>
              <a:t>REIDI Mercado Livre</a:t>
            </a:r>
            <a:endParaRPr lang="pt-BR" b="1" dirty="0">
              <a:solidFill>
                <a:srgbClr val="777777"/>
              </a:solidFill>
            </a:endParaRPr>
          </a:p>
          <a:p>
            <a:pPr algn="ctr">
              <a:buClr>
                <a:srgbClr val="F33607"/>
              </a:buClr>
            </a:pPr>
            <a:r>
              <a:rPr lang="pt-BR" sz="1600" b="1" dirty="0"/>
              <a:t>Inviabiliza alternativas de </a:t>
            </a:r>
            <a:r>
              <a:rPr lang="pt-BR" sz="1600" b="1" dirty="0" smtClean="0"/>
              <a:t>“</a:t>
            </a:r>
            <a:r>
              <a:rPr lang="pt-BR" sz="1600" b="1" dirty="0" err="1" smtClean="0"/>
              <a:t>mix</a:t>
            </a:r>
            <a:r>
              <a:rPr lang="pt-BR" sz="1600" b="1" dirty="0" smtClean="0"/>
              <a:t>” </a:t>
            </a:r>
            <a:r>
              <a:rPr lang="pt-BR" sz="1600" b="1" dirty="0"/>
              <a:t>com projetos no ACL</a:t>
            </a:r>
          </a:p>
        </p:txBody>
      </p:sp>
      <p:sp>
        <p:nvSpPr>
          <p:cNvPr id="13" name="Retângulo de cantos arredondados 12"/>
          <p:cNvSpPr/>
          <p:nvPr/>
        </p:nvSpPr>
        <p:spPr>
          <a:xfrm>
            <a:off x="1083837" y="3029968"/>
            <a:ext cx="9999318" cy="919361"/>
          </a:xfrm>
          <a:prstGeom prst="roundRect">
            <a:avLst/>
          </a:prstGeom>
          <a:noFill/>
          <a:ln>
            <a:solidFill>
              <a:srgbClr val="24509A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 err="1" smtClean="0"/>
          </a:p>
        </p:txBody>
      </p:sp>
      <p:sp>
        <p:nvSpPr>
          <p:cNvPr id="14" name="Retângulo de cantos arredondados 13"/>
          <p:cNvSpPr/>
          <p:nvPr/>
        </p:nvSpPr>
        <p:spPr>
          <a:xfrm>
            <a:off x="1114261" y="4237721"/>
            <a:ext cx="9999318" cy="919361"/>
          </a:xfrm>
          <a:prstGeom prst="roundRect">
            <a:avLst/>
          </a:prstGeom>
          <a:noFill/>
          <a:ln>
            <a:solidFill>
              <a:srgbClr val="24509A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 err="1" smtClean="0"/>
          </a:p>
        </p:txBody>
      </p:sp>
      <p:sp>
        <p:nvSpPr>
          <p:cNvPr id="16" name="Retângulo de cantos arredondados 15"/>
          <p:cNvSpPr/>
          <p:nvPr/>
        </p:nvSpPr>
        <p:spPr>
          <a:xfrm>
            <a:off x="1114261" y="5429615"/>
            <a:ext cx="9999318" cy="919361"/>
          </a:xfrm>
          <a:prstGeom prst="roundRect">
            <a:avLst/>
          </a:prstGeom>
          <a:noFill/>
          <a:ln>
            <a:solidFill>
              <a:srgbClr val="24509A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 err="1" smtClean="0"/>
          </a:p>
        </p:txBody>
      </p:sp>
      <p:sp>
        <p:nvSpPr>
          <p:cNvPr id="2" name="Seta em curva para a direita 1"/>
          <p:cNvSpPr/>
          <p:nvPr/>
        </p:nvSpPr>
        <p:spPr>
          <a:xfrm>
            <a:off x="1481070" y="3721994"/>
            <a:ext cx="437882" cy="1133341"/>
          </a:xfrm>
          <a:prstGeom prst="curvedRightArrow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948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de E&amp;C e demais autorizações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3" name="Text Box 3"/>
          <p:cNvSpPr txBox="1">
            <a:spLocks noChangeArrowheads="1"/>
          </p:cNvSpPr>
          <p:nvPr/>
        </p:nvSpPr>
        <p:spPr bwMode="auto">
          <a:xfrm>
            <a:off x="464288" y="1420050"/>
            <a:ext cx="11025870" cy="4349594"/>
          </a:xfrm>
          <a:prstGeom prst="rect">
            <a:avLst/>
          </a:prstGeom>
          <a:noFill/>
          <a:ln w="3175">
            <a:noFill/>
            <a:prstDash val="dash"/>
            <a:miter lim="800000"/>
            <a:headEnd/>
            <a:tailEnd/>
          </a:ln>
        </p:spPr>
        <p:txBody>
          <a:bodyPr wrap="square" lIns="121606" tIns="60804" rIns="121606" bIns="60804">
            <a:spAutoFit/>
          </a:bodyPr>
          <a:lstStyle/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Logística até o canteiro de obras (externa)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Qualificação de Mão de Obra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Sistema de comunicação (internet e telefonia em áreas remotas)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Recursos naturais para construção (jazidas e água)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Capacidade ou falta de capacidade de subfornecedores locais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Processos de autorizações junto a demais órgãos inseridos no processo de implantação (</a:t>
            </a:r>
            <a:r>
              <a:rPr lang="pt-BR" sz="1600" dirty="0" err="1" smtClean="0">
                <a:solidFill>
                  <a:schemeClr val="accent1">
                    <a:lumMod val="50000"/>
                  </a:schemeClr>
                </a:solidFill>
              </a:rPr>
              <a:t>exs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. Autorização de passagens com DNIT, DER, demais Transmissoras e Distribuidoras; Alimentação de serviço auxiliar pela rede de Distribuição e Alvará de Corpo de Bombeiros)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Segurança patrimonial e publica ao redor do projeto durante a fase de construção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Calendário de feriados 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Processo aduaneiro (portos e aeroportos)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Greves não gerenciáveis pelo empreendedor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Taxas e impostos dificultam o uso de mais equipamentos nas obras e durante operação e manutenção </a:t>
            </a:r>
            <a:endParaRPr lang="en-US" sz="16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73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/>
          <p:cNvGrpSpPr/>
          <p:nvPr/>
        </p:nvGrpSpPr>
        <p:grpSpPr>
          <a:xfrm>
            <a:off x="6653465" y="4078705"/>
            <a:ext cx="5642809" cy="2502880"/>
            <a:chOff x="6794205" y="1073521"/>
            <a:chExt cx="5397795" cy="2502880"/>
          </a:xfrm>
        </p:grpSpPr>
        <p:sp>
          <p:nvSpPr>
            <p:cNvPr id="33" name="Text Box 3"/>
            <p:cNvSpPr txBox="1">
              <a:spLocks noChangeArrowheads="1"/>
            </p:cNvSpPr>
            <p:nvPr/>
          </p:nvSpPr>
          <p:spPr bwMode="auto">
            <a:xfrm>
              <a:off x="6794205" y="1463317"/>
              <a:ext cx="5397795" cy="2113084"/>
            </a:xfrm>
            <a:prstGeom prst="rect">
              <a:avLst/>
            </a:prstGeom>
            <a:noFill/>
            <a:ln w="3175">
              <a:noFill/>
              <a:prstDash val="dash"/>
              <a:miter lim="800000"/>
              <a:headEnd/>
              <a:tailEnd/>
            </a:ln>
          </p:spPr>
          <p:txBody>
            <a:bodyPr wrap="square" lIns="121606" tIns="60804" rIns="121606" bIns="60804">
              <a:spAutoFit/>
            </a:bodyPr>
            <a:lstStyle/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>
                  <a:solidFill>
                    <a:schemeClr val="accent1">
                      <a:lumMod val="50000"/>
                    </a:schemeClr>
                  </a:solidFill>
                </a:rPr>
                <a:t>Definição de fornecedores antes do Leilão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>
                  <a:solidFill>
                    <a:schemeClr val="accent1">
                      <a:lumMod val="50000"/>
                    </a:schemeClr>
                  </a:solidFill>
                </a:rPr>
                <a:t>Realização do Workshop Geração de Energia Solar 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>
                  <a:solidFill>
                    <a:schemeClr val="accent1">
                      <a:lumMod val="50000"/>
                    </a:schemeClr>
                  </a:solidFill>
                </a:rPr>
                <a:t>Trabalho em conjunto com fornecedores 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>
                  <a:solidFill>
                    <a:schemeClr val="accent1">
                      <a:lumMod val="50000"/>
                    </a:schemeClr>
                  </a:solidFill>
                </a:rPr>
                <a:t>Planejamento e Controle rígido em todos os processos 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>
                  <a:solidFill>
                    <a:schemeClr val="accent1">
                      <a:lumMod val="50000"/>
                    </a:schemeClr>
                  </a:solidFill>
                </a:rPr>
                <a:t>Estrutura Organizacional Global da ENEL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>
                  <a:solidFill>
                    <a:schemeClr val="accent1">
                      <a:lumMod val="50000"/>
                    </a:schemeClr>
                  </a:solidFill>
                </a:rPr>
                <a:t>Inovação nos processos de implantação</a:t>
              </a:r>
            </a:p>
          </p:txBody>
        </p:sp>
        <p:sp>
          <p:nvSpPr>
            <p:cNvPr id="42" name="Retângulo 41"/>
            <p:cNvSpPr/>
            <p:nvPr/>
          </p:nvSpPr>
          <p:spPr>
            <a:xfrm>
              <a:off x="6901756" y="1073521"/>
              <a:ext cx="41968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</a:rPr>
                <a:t>Algumas ações tomadas pela ENEL</a:t>
              </a:r>
              <a:endParaRPr lang="pt-BR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grpSp>
        <p:nvGrpSpPr>
          <p:cNvPr id="4" name="Grupo 3"/>
          <p:cNvGrpSpPr/>
          <p:nvPr/>
        </p:nvGrpSpPr>
        <p:grpSpPr>
          <a:xfrm>
            <a:off x="225893" y="1676467"/>
            <a:ext cx="8148085" cy="2137720"/>
            <a:chOff x="1453115" y="4383058"/>
            <a:chExt cx="8148085" cy="2137720"/>
          </a:xfrm>
        </p:grpSpPr>
        <p:grpSp>
          <p:nvGrpSpPr>
            <p:cNvPr id="2" name="Grupo 1"/>
            <p:cNvGrpSpPr/>
            <p:nvPr/>
          </p:nvGrpSpPr>
          <p:grpSpPr>
            <a:xfrm>
              <a:off x="1453115" y="4383058"/>
              <a:ext cx="8148085" cy="1606286"/>
              <a:chOff x="1453115" y="4383058"/>
              <a:chExt cx="8148085" cy="1606286"/>
            </a:xfrm>
          </p:grpSpPr>
          <p:sp>
            <p:nvSpPr>
              <p:cNvPr id="3" name="Retângulo 2"/>
              <p:cNvSpPr/>
              <p:nvPr/>
            </p:nvSpPr>
            <p:spPr>
              <a:xfrm>
                <a:off x="1453115" y="4388906"/>
                <a:ext cx="4054550" cy="1600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pt-BR" sz="1400" b="1" i="1" dirty="0">
                    <a:solidFill>
                      <a:schemeClr val="accent1">
                        <a:lumMod val="50000"/>
                      </a:schemeClr>
                    </a:solidFill>
                  </a:rPr>
                  <a:t>1º Projeto Centralizado no Brasil </a:t>
                </a:r>
                <a:r>
                  <a:rPr lang="pt-BR" sz="1400" b="1" i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2013 - 2015</a:t>
                </a:r>
                <a:endParaRPr lang="pt-BR" sz="1400" b="1" i="1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lvl="1"/>
                <a:r>
                  <a:rPr lang="pt-BR" sz="1400" b="1" i="1" dirty="0">
                    <a:solidFill>
                      <a:schemeClr val="accent1">
                        <a:lumMod val="50000"/>
                      </a:schemeClr>
                    </a:solidFill>
                  </a:rPr>
                  <a:t>11 </a:t>
                </a:r>
                <a:r>
                  <a:rPr lang="pt-BR" sz="1400" b="1" i="1" dirty="0" err="1">
                    <a:solidFill>
                      <a:schemeClr val="accent1">
                        <a:lumMod val="50000"/>
                      </a:schemeClr>
                    </a:solidFill>
                  </a:rPr>
                  <a:t>MWp</a:t>
                </a:r>
                <a:r>
                  <a:rPr lang="pt-BR" sz="1400" b="1" i="1" dirty="0">
                    <a:solidFill>
                      <a:schemeClr val="accent1">
                        <a:lumMod val="50000"/>
                      </a:schemeClr>
                    </a:solidFill>
                  </a:rPr>
                  <a:t> (Fontes Solar)</a:t>
                </a: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36 mil </a:t>
                </a: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painéis</a:t>
                </a:r>
                <a:endParaRPr lang="pt-BR" sz="1400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312 estruturas</a:t>
                </a: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5 mil estacas</a:t>
                </a: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4 </a:t>
                </a:r>
                <a:r>
                  <a:rPr lang="pt-BR" sz="1400" dirty="0" err="1">
                    <a:solidFill>
                      <a:schemeClr val="accent1">
                        <a:lumMod val="50000"/>
                      </a:schemeClr>
                    </a:solidFill>
                  </a:rPr>
                  <a:t>conversion</a:t>
                </a: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 </a:t>
                </a:r>
                <a:r>
                  <a:rPr lang="pt-BR" sz="1400" dirty="0" err="1" smtClean="0">
                    <a:solidFill>
                      <a:schemeClr val="accent1">
                        <a:lumMod val="50000"/>
                      </a:schemeClr>
                    </a:solidFill>
                  </a:rPr>
                  <a:t>units</a:t>
                </a:r>
                <a:endParaRPr lang="pt-BR" sz="1400" dirty="0" smtClean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10 meses de obra (¹)</a:t>
                </a:r>
                <a:endParaRPr lang="pt-BR" sz="1400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1" name="Retângulo 40"/>
              <p:cNvSpPr/>
              <p:nvPr/>
            </p:nvSpPr>
            <p:spPr>
              <a:xfrm>
                <a:off x="5745084" y="4383058"/>
                <a:ext cx="3856116" cy="1600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pt-BR" sz="1400" b="1" i="1" dirty="0">
                    <a:solidFill>
                      <a:schemeClr val="accent1">
                        <a:lumMod val="50000"/>
                      </a:schemeClr>
                    </a:solidFill>
                  </a:rPr>
                  <a:t>1º Projeto </a:t>
                </a:r>
                <a:r>
                  <a:rPr lang="pt-BR" sz="1400" b="1" i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em Operação do LER 2015 - 2017  </a:t>
                </a:r>
                <a:endParaRPr lang="pt-BR" sz="1400" b="1" i="1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lvl="1"/>
                <a:r>
                  <a:rPr lang="pt-BR" sz="1400" b="1" i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158 </a:t>
                </a:r>
                <a:r>
                  <a:rPr lang="pt-BR" sz="1400" b="1" i="1" dirty="0" err="1">
                    <a:solidFill>
                      <a:schemeClr val="accent1">
                        <a:lumMod val="50000"/>
                      </a:schemeClr>
                    </a:solidFill>
                  </a:rPr>
                  <a:t>MWp</a:t>
                </a:r>
                <a:r>
                  <a:rPr lang="pt-BR" sz="1400" b="1" i="1" dirty="0">
                    <a:solidFill>
                      <a:schemeClr val="accent1">
                        <a:lumMod val="50000"/>
                      </a:schemeClr>
                    </a:solidFill>
                  </a:rPr>
                  <a:t> </a:t>
                </a:r>
                <a:r>
                  <a:rPr lang="pt-BR" sz="1400" b="1" i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(Cluster Lapa)</a:t>
                </a:r>
                <a:endParaRPr lang="pt-BR" sz="1400" b="1" i="1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501.120 painéis [x13] </a:t>
                </a:r>
                <a:endParaRPr lang="pt-BR" sz="1400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5.568 estruturas [x17]</a:t>
                </a:r>
                <a:endParaRPr lang="pt-BR" sz="1400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39.039 </a:t>
                </a: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mil </a:t>
                </a: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estacas [x7]</a:t>
                </a:r>
                <a:endParaRPr lang="pt-BR" sz="1400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32 </a:t>
                </a:r>
                <a:r>
                  <a:rPr lang="pt-BR" sz="1400" dirty="0" err="1">
                    <a:solidFill>
                      <a:schemeClr val="accent1">
                        <a:lumMod val="50000"/>
                      </a:schemeClr>
                    </a:solidFill>
                  </a:rPr>
                  <a:t>conversion</a:t>
                </a:r>
                <a:r>
                  <a:rPr lang="pt-BR" sz="1400" dirty="0">
                    <a:solidFill>
                      <a:schemeClr val="accent1">
                        <a:lumMod val="50000"/>
                      </a:schemeClr>
                    </a:solidFill>
                  </a:rPr>
                  <a:t> </a:t>
                </a:r>
                <a:r>
                  <a:rPr lang="pt-BR" sz="1400" dirty="0" err="1" smtClean="0">
                    <a:solidFill>
                      <a:schemeClr val="accent1">
                        <a:lumMod val="50000"/>
                      </a:schemeClr>
                    </a:solidFill>
                  </a:rPr>
                  <a:t>units</a:t>
                </a: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 [x8]</a:t>
                </a:r>
              </a:p>
              <a:p>
                <a:pPr marL="800100" lvl="1" indent="-342900">
                  <a:buFontTx/>
                  <a:buChar char="-"/>
                </a:pPr>
                <a:r>
                  <a:rPr lang="pt-BR" sz="1400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14 meses de obra (sendo duas SE)</a:t>
                </a:r>
                <a:endParaRPr lang="pt-BR" sz="1400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8" name="Seta em curva para a direita 7"/>
            <p:cNvSpPr/>
            <p:nvPr/>
          </p:nvSpPr>
          <p:spPr>
            <a:xfrm rot="16200000">
              <a:off x="4854733" y="5001186"/>
              <a:ext cx="478465" cy="2560720"/>
            </a:xfrm>
            <a:prstGeom prst="curved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pt-BR" sz="2000" dirty="0" err="1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sp>
        <p:nvSpPr>
          <p:cNvPr id="12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de E&amp;C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8425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7"/>
          <p:cNvSpPr txBox="1">
            <a:spLocks/>
          </p:cNvSpPr>
          <p:nvPr/>
        </p:nvSpPr>
        <p:spPr>
          <a:xfrm>
            <a:off x="762000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pt-BR" sz="2800" b="1" dirty="0" smtClean="0">
                <a:solidFill>
                  <a:schemeClr val="accent1">
                    <a:lumMod val="50000"/>
                  </a:schemeClr>
                </a:solidFill>
              </a:rPr>
              <a:t>O que precisamos melhorar?</a:t>
            </a:r>
            <a:endParaRPr 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9" name="Text Box 3"/>
          <p:cNvSpPr txBox="1">
            <a:spLocks noChangeArrowheads="1"/>
          </p:cNvSpPr>
          <p:nvPr/>
        </p:nvSpPr>
        <p:spPr bwMode="auto">
          <a:xfrm>
            <a:off x="163498" y="1696785"/>
            <a:ext cx="11434943" cy="3405746"/>
          </a:xfrm>
          <a:prstGeom prst="rect">
            <a:avLst/>
          </a:prstGeom>
          <a:noFill/>
          <a:ln w="3175">
            <a:noFill/>
            <a:prstDash val="dash"/>
            <a:miter lim="800000"/>
            <a:headEnd/>
            <a:tailEnd/>
          </a:ln>
        </p:spPr>
        <p:txBody>
          <a:bodyPr wrap="square" lIns="121606" tIns="60804" rIns="121606" bIns="60804">
            <a:spAutoFit/>
          </a:bodyPr>
          <a:lstStyle/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Centralizar e deixar mais claro todo o processo de implantação inclusive o licenciamento ambiental coerentes com os prazos definidos nos leilões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Fornecedores locais capazes a atender a demanda do leilão no prazo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Maior agilidade no processo de importação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Calendário de pelo menos 5 anos de leilões futuros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Melhores condições logísticas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Qualificação de Mão de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Obra com apoio de instituições de ensino</a:t>
            </a: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Financiamento com BNDES</a:t>
            </a:r>
            <a:endParaRPr lang="pt-BR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defTabSz="609585">
              <a:spcBef>
                <a:spcPts val="8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34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chemeClr val="accent1">
                    <a:lumMod val="50000"/>
                  </a:schemeClr>
                </a:solidFill>
              </a:rPr>
              <a:pPr/>
              <a:t>16</a:t>
            </a:fld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306" y="615087"/>
            <a:ext cx="5534519" cy="662996"/>
          </a:xfrm>
        </p:spPr>
        <p:txBody>
          <a:bodyPr/>
          <a:lstStyle/>
          <a:p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Obrigado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7890825" y="5081156"/>
            <a:ext cx="43011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Thiago Mundim</a:t>
            </a:r>
            <a:br>
              <a:rPr lang="en-GB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GB" dirty="0" smtClean="0">
                <a:solidFill>
                  <a:schemeClr val="accent1">
                    <a:lumMod val="50000"/>
                  </a:schemeClr>
                </a:solidFill>
              </a:rPr>
              <a:t>Senior Project 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Manager</a:t>
            </a:r>
            <a:br>
              <a:rPr lang="en-GB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thiago.mundim@enel.com</a:t>
            </a:r>
            <a:endParaRPr lang="pt-BR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9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28"/>
          <p:cNvSpPr/>
          <p:nvPr/>
        </p:nvSpPr>
        <p:spPr>
          <a:xfrm>
            <a:off x="794" y="0"/>
            <a:ext cx="12190413" cy="6858000"/>
          </a:xfrm>
          <a:prstGeom prst="rect">
            <a:avLst/>
          </a:prstGeom>
          <a:solidFill>
            <a:srgbClr val="BCBCB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46" name="CaixaDeTexto 145"/>
          <p:cNvSpPr txBox="1"/>
          <p:nvPr/>
        </p:nvSpPr>
        <p:spPr>
          <a:xfrm>
            <a:off x="6903312" y="844624"/>
            <a:ext cx="3569184" cy="601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uí | 1.362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292 </a:t>
            </a:r>
            <a:r>
              <a:rPr lang="pt-BR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p</a:t>
            </a: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ar em Operação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474 </a:t>
            </a:r>
            <a:r>
              <a:rPr lang="pt-BR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p</a:t>
            </a: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ar em Construção (leilões 2017)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596 MW Eólico em Construção (leilões 2017)</a:t>
            </a:r>
          </a:p>
          <a:p>
            <a:pPr>
              <a:lnSpc>
                <a:spcPts val="1400"/>
              </a:lnSpc>
            </a:pPr>
            <a:endParaRPr lang="pt-BR" sz="11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o Grande do Norte | 56,4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56,4 MW Eólico (em operação)</a:t>
            </a:r>
          </a:p>
          <a:p>
            <a:pPr>
              <a:lnSpc>
                <a:spcPts val="1400"/>
              </a:lnSpc>
            </a:pP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nambuco | 90,9 MW 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79,9 MW Eólico (em operação)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11 MW Solar (em operação</a:t>
            </a:r>
          </a:p>
          <a:p>
            <a:pPr>
              <a:lnSpc>
                <a:spcPts val="1400"/>
              </a:lnSpc>
            </a:pP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hia | 1.500,5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706,1 MW Eólico em Operação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515 </a:t>
            </a:r>
            <a:r>
              <a:rPr lang="pt-BR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p</a:t>
            </a: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ar em Operação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279,4 MW Eólico em Construção (leilões 2017)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cantins | 50,1 MW 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50,1 Hidro em Operação</a:t>
            </a:r>
          </a:p>
          <a:p>
            <a:pPr>
              <a:lnSpc>
                <a:spcPts val="1400"/>
              </a:lnSpc>
            </a:pP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o Grosso  | 141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39,8 MW Hidro em Operação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1,2 </a:t>
            </a:r>
            <a:r>
              <a:rPr lang="pt-BR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p</a:t>
            </a: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ar em Operação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iás | 658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658 MW Hidro em Operação</a:t>
            </a:r>
          </a:p>
          <a:p>
            <a:pPr>
              <a:lnSpc>
                <a:spcPts val="1400"/>
              </a:lnSpc>
            </a:pP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ão Paulo | 416,2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416,2 MW Hidro em Operação</a:t>
            </a: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ts val="1400"/>
              </a:lnSpc>
            </a:pPr>
            <a:r>
              <a:rPr lang="pt-BR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ná | 8,2 MW</a:t>
            </a:r>
            <a:endParaRPr lang="pt-BR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8,2 MW Hidro em Operação</a:t>
            </a:r>
          </a:p>
        </p:txBody>
      </p:sp>
      <p:sp>
        <p:nvSpPr>
          <p:cNvPr id="3091" name="AutoShape 19" descr="Resultado de imagem para enel"/>
          <p:cNvSpPr>
            <a:spLocks noChangeAspect="1" noChangeArrowheads="1"/>
          </p:cNvSpPr>
          <p:nvPr/>
        </p:nvSpPr>
        <p:spPr bwMode="auto">
          <a:xfrm>
            <a:off x="163019" y="-139030"/>
            <a:ext cx="348253" cy="2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020" tIns="48011" rIns="96020" bIns="48011"/>
          <a:lstStyle>
            <a:lvl1pPr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9pPr>
          </a:lstStyle>
          <a:p>
            <a:pPr eaLnBrk="1" hangingPunct="1"/>
            <a:endParaRPr lang="pt-BR" altLang="pt-BR" dirty="0">
              <a:solidFill>
                <a:prstClr val="black"/>
              </a:solidFill>
            </a:endParaRPr>
          </a:p>
        </p:txBody>
      </p:sp>
      <p:sp>
        <p:nvSpPr>
          <p:cNvPr id="3092" name="AutoShape 21" descr="Resultado de imagem para enel"/>
          <p:cNvSpPr>
            <a:spLocks noChangeAspect="1" noChangeArrowheads="1"/>
          </p:cNvSpPr>
          <p:nvPr/>
        </p:nvSpPr>
        <p:spPr bwMode="auto">
          <a:xfrm>
            <a:off x="337145" y="896"/>
            <a:ext cx="348253" cy="2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020" tIns="48011" rIns="96020" bIns="48011"/>
          <a:lstStyle>
            <a:lvl1pPr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9pPr>
          </a:lstStyle>
          <a:p>
            <a:pPr eaLnBrk="1" hangingPunct="1"/>
            <a:endParaRPr lang="pt-BR" altLang="pt-BR" dirty="0">
              <a:solidFill>
                <a:prstClr val="black"/>
              </a:solidFill>
            </a:endParaRPr>
          </a:p>
        </p:txBody>
      </p:sp>
      <p:sp>
        <p:nvSpPr>
          <p:cNvPr id="15" name="Titolo 3"/>
          <p:cNvSpPr txBox="1">
            <a:spLocks/>
          </p:cNvSpPr>
          <p:nvPr/>
        </p:nvSpPr>
        <p:spPr>
          <a:xfrm>
            <a:off x="1805918" y="444371"/>
            <a:ext cx="8556172" cy="479876"/>
          </a:xfrm>
          <a:prstGeom prst="rect">
            <a:avLst/>
          </a:prstGeom>
        </p:spPr>
        <p:txBody>
          <a:bodyPr lIns="96020" tIns="48011" rIns="96020" bIns="4801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sz="3200" dirty="0">
              <a:solidFill>
                <a:srgbClr val="0655FA"/>
              </a:solidFill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1394663" y="1434788"/>
            <a:ext cx="5302137" cy="4828283"/>
            <a:chOff x="5251587" y="548680"/>
            <a:chExt cx="5302137" cy="4828283"/>
          </a:xfrm>
        </p:grpSpPr>
        <p:grpSp>
          <p:nvGrpSpPr>
            <p:cNvPr id="171" name="Grupo 1"/>
            <p:cNvGrpSpPr/>
            <p:nvPr/>
          </p:nvGrpSpPr>
          <p:grpSpPr>
            <a:xfrm>
              <a:off x="6548067" y="1514808"/>
              <a:ext cx="2777541" cy="3479121"/>
              <a:chOff x="4328007" y="2330910"/>
              <a:chExt cx="3171086" cy="3648985"/>
            </a:xfrm>
            <a:solidFill>
              <a:srgbClr val="3EC2B2"/>
            </a:solidFill>
          </p:grpSpPr>
          <p:sp>
            <p:nvSpPr>
              <p:cNvPr id="181" name="Freeform 156"/>
              <p:cNvSpPr>
                <a:spLocks/>
              </p:cNvSpPr>
              <p:nvPr/>
            </p:nvSpPr>
            <p:spPr bwMode="auto">
              <a:xfrm>
                <a:off x="4328007" y="2824820"/>
                <a:ext cx="1339454" cy="1300023"/>
              </a:xfrm>
              <a:custGeom>
                <a:avLst/>
                <a:gdLst>
                  <a:gd name="T0" fmla="*/ 271 w 9569"/>
                  <a:gd name="T1" fmla="*/ 739 h 9288"/>
                  <a:gd name="T2" fmla="*/ 228 w 9569"/>
                  <a:gd name="T3" fmla="*/ 692 h 9288"/>
                  <a:gd name="T4" fmla="*/ 235 w 9569"/>
                  <a:gd name="T5" fmla="*/ 655 h 9288"/>
                  <a:gd name="T6" fmla="*/ 104 w 9569"/>
                  <a:gd name="T7" fmla="*/ 599 h 9288"/>
                  <a:gd name="T8" fmla="*/ 92 w 9569"/>
                  <a:gd name="T9" fmla="*/ 565 h 9288"/>
                  <a:gd name="T10" fmla="*/ 92 w 9569"/>
                  <a:gd name="T11" fmla="*/ 530 h 9288"/>
                  <a:gd name="T12" fmla="*/ 87 w 9569"/>
                  <a:gd name="T13" fmla="*/ 497 h 9288"/>
                  <a:gd name="T14" fmla="*/ 84 w 9569"/>
                  <a:gd name="T15" fmla="*/ 449 h 9288"/>
                  <a:gd name="T16" fmla="*/ 124 w 9569"/>
                  <a:gd name="T17" fmla="*/ 364 h 9288"/>
                  <a:gd name="T18" fmla="*/ 118 w 9569"/>
                  <a:gd name="T19" fmla="*/ 287 h 9288"/>
                  <a:gd name="T20" fmla="*/ 31 w 9569"/>
                  <a:gd name="T21" fmla="*/ 267 h 9288"/>
                  <a:gd name="T22" fmla="*/ 13 w 9569"/>
                  <a:gd name="T23" fmla="*/ 171 h 9288"/>
                  <a:gd name="T24" fmla="*/ 217 w 9569"/>
                  <a:gd name="T25" fmla="*/ 111 h 9288"/>
                  <a:gd name="T26" fmla="*/ 225 w 9569"/>
                  <a:gd name="T27" fmla="*/ 75 h 9288"/>
                  <a:gd name="T28" fmla="*/ 225 w 9569"/>
                  <a:gd name="T29" fmla="*/ 38 h 9288"/>
                  <a:gd name="T30" fmla="*/ 243 w 9569"/>
                  <a:gd name="T31" fmla="*/ 0 h 9288"/>
                  <a:gd name="T32" fmla="*/ 311 w 9569"/>
                  <a:gd name="T33" fmla="*/ 116 h 9288"/>
                  <a:gd name="T34" fmla="*/ 344 w 9569"/>
                  <a:gd name="T35" fmla="*/ 154 h 9288"/>
                  <a:gd name="T36" fmla="*/ 793 w 9569"/>
                  <a:gd name="T37" fmla="*/ 220 h 9288"/>
                  <a:gd name="T38" fmla="*/ 776 w 9569"/>
                  <a:gd name="T39" fmla="*/ 316 h 9288"/>
                  <a:gd name="T40" fmla="*/ 780 w 9569"/>
                  <a:gd name="T41" fmla="*/ 381 h 9288"/>
                  <a:gd name="T42" fmla="*/ 772 w 9569"/>
                  <a:gd name="T43" fmla="*/ 445 h 9288"/>
                  <a:gd name="T44" fmla="*/ 740 w 9569"/>
                  <a:gd name="T45" fmla="*/ 549 h 9288"/>
                  <a:gd name="T46" fmla="*/ 692 w 9569"/>
                  <a:gd name="T47" fmla="*/ 606 h 9288"/>
                  <a:gd name="T48" fmla="*/ 648 w 9569"/>
                  <a:gd name="T49" fmla="*/ 637 h 9288"/>
                  <a:gd name="T50" fmla="*/ 603 w 9569"/>
                  <a:gd name="T51" fmla="*/ 704 h 9288"/>
                  <a:gd name="T52" fmla="*/ 601 w 9569"/>
                  <a:gd name="T53" fmla="*/ 754 h 9288"/>
                  <a:gd name="T54" fmla="*/ 568 w 9569"/>
                  <a:gd name="T55" fmla="*/ 746 h 9288"/>
                  <a:gd name="T56" fmla="*/ 539 w 9569"/>
                  <a:gd name="T57" fmla="*/ 729 h 9288"/>
                  <a:gd name="T58" fmla="*/ 473 w 9569"/>
                  <a:gd name="T59" fmla="*/ 739 h 9288"/>
                  <a:gd name="T60" fmla="*/ 379 w 9569"/>
                  <a:gd name="T61" fmla="*/ 713 h 9288"/>
                  <a:gd name="T62" fmla="*/ 322 w 9569"/>
                  <a:gd name="T63" fmla="*/ 752 h 9288"/>
                  <a:gd name="T64" fmla="*/ 293 w 9569"/>
                  <a:gd name="T65" fmla="*/ 787 h 92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9569" h="9288">
                    <a:moveTo>
                      <a:pt x="3459" y="9288"/>
                    </a:moveTo>
                    <a:cubicBezTo>
                      <a:pt x="3326" y="9117"/>
                      <a:pt x="3348" y="8835"/>
                      <a:pt x="3199" y="8716"/>
                    </a:cubicBezTo>
                    <a:cubicBezTo>
                      <a:pt x="3073" y="8620"/>
                      <a:pt x="2903" y="8627"/>
                      <a:pt x="2784" y="8538"/>
                    </a:cubicBezTo>
                    <a:cubicBezTo>
                      <a:pt x="2747" y="8508"/>
                      <a:pt x="2695" y="8248"/>
                      <a:pt x="2695" y="8167"/>
                    </a:cubicBezTo>
                    <a:cubicBezTo>
                      <a:pt x="2702" y="7959"/>
                      <a:pt x="2776" y="7951"/>
                      <a:pt x="2776" y="7892"/>
                    </a:cubicBezTo>
                    <a:cubicBezTo>
                      <a:pt x="2776" y="7684"/>
                      <a:pt x="2813" y="7736"/>
                      <a:pt x="2776" y="7736"/>
                    </a:cubicBezTo>
                    <a:cubicBezTo>
                      <a:pt x="2776" y="7736"/>
                      <a:pt x="1284" y="7773"/>
                      <a:pt x="1284" y="7729"/>
                    </a:cubicBezTo>
                    <a:cubicBezTo>
                      <a:pt x="1284" y="7662"/>
                      <a:pt x="1254" y="7201"/>
                      <a:pt x="1232" y="7068"/>
                    </a:cubicBezTo>
                    <a:cubicBezTo>
                      <a:pt x="1210" y="6942"/>
                      <a:pt x="921" y="6890"/>
                      <a:pt x="980" y="6756"/>
                    </a:cubicBezTo>
                    <a:cubicBezTo>
                      <a:pt x="995" y="6756"/>
                      <a:pt x="1091" y="6726"/>
                      <a:pt x="1091" y="6667"/>
                    </a:cubicBezTo>
                    <a:cubicBezTo>
                      <a:pt x="1091" y="6585"/>
                      <a:pt x="1032" y="6556"/>
                      <a:pt x="1032" y="6452"/>
                    </a:cubicBezTo>
                    <a:cubicBezTo>
                      <a:pt x="1032" y="6355"/>
                      <a:pt x="1091" y="6363"/>
                      <a:pt x="1091" y="6259"/>
                    </a:cubicBezTo>
                    <a:cubicBezTo>
                      <a:pt x="1091" y="6155"/>
                      <a:pt x="1017" y="6095"/>
                      <a:pt x="980" y="5984"/>
                    </a:cubicBezTo>
                    <a:cubicBezTo>
                      <a:pt x="935" y="5880"/>
                      <a:pt x="1032" y="5865"/>
                      <a:pt x="1032" y="5865"/>
                    </a:cubicBezTo>
                    <a:cubicBezTo>
                      <a:pt x="1076" y="5754"/>
                      <a:pt x="876" y="5598"/>
                      <a:pt x="690" y="5501"/>
                    </a:cubicBezTo>
                    <a:cubicBezTo>
                      <a:pt x="779" y="5413"/>
                      <a:pt x="898" y="5360"/>
                      <a:pt x="995" y="5294"/>
                    </a:cubicBezTo>
                    <a:cubicBezTo>
                      <a:pt x="1076" y="5227"/>
                      <a:pt x="1054" y="5041"/>
                      <a:pt x="1121" y="4937"/>
                    </a:cubicBezTo>
                    <a:cubicBezTo>
                      <a:pt x="1254" y="4730"/>
                      <a:pt x="1403" y="4722"/>
                      <a:pt x="1462" y="4299"/>
                    </a:cubicBezTo>
                    <a:cubicBezTo>
                      <a:pt x="1507" y="3957"/>
                      <a:pt x="1254" y="3950"/>
                      <a:pt x="1254" y="3742"/>
                    </a:cubicBezTo>
                    <a:cubicBezTo>
                      <a:pt x="1254" y="3594"/>
                      <a:pt x="1425" y="3609"/>
                      <a:pt x="1388" y="3386"/>
                    </a:cubicBezTo>
                    <a:cubicBezTo>
                      <a:pt x="1351" y="3207"/>
                      <a:pt x="1039" y="3252"/>
                      <a:pt x="817" y="3170"/>
                    </a:cubicBezTo>
                    <a:cubicBezTo>
                      <a:pt x="720" y="3133"/>
                      <a:pt x="386" y="3215"/>
                      <a:pt x="371" y="3156"/>
                    </a:cubicBezTo>
                    <a:cubicBezTo>
                      <a:pt x="349" y="2999"/>
                      <a:pt x="0" y="2896"/>
                      <a:pt x="0" y="2628"/>
                    </a:cubicBezTo>
                    <a:cubicBezTo>
                      <a:pt x="0" y="2391"/>
                      <a:pt x="156" y="2250"/>
                      <a:pt x="156" y="2020"/>
                    </a:cubicBezTo>
                    <a:cubicBezTo>
                      <a:pt x="156" y="1767"/>
                      <a:pt x="37" y="1582"/>
                      <a:pt x="67" y="1307"/>
                    </a:cubicBezTo>
                    <a:lnTo>
                      <a:pt x="2561" y="1307"/>
                    </a:lnTo>
                    <a:cubicBezTo>
                      <a:pt x="2591" y="1277"/>
                      <a:pt x="2635" y="1248"/>
                      <a:pt x="2658" y="1233"/>
                    </a:cubicBezTo>
                    <a:lnTo>
                      <a:pt x="2658" y="884"/>
                    </a:lnTo>
                    <a:cubicBezTo>
                      <a:pt x="2702" y="787"/>
                      <a:pt x="2747" y="750"/>
                      <a:pt x="2747" y="654"/>
                    </a:cubicBezTo>
                    <a:cubicBezTo>
                      <a:pt x="2747" y="572"/>
                      <a:pt x="2658" y="535"/>
                      <a:pt x="2658" y="446"/>
                    </a:cubicBezTo>
                    <a:cubicBezTo>
                      <a:pt x="2658" y="387"/>
                      <a:pt x="2791" y="349"/>
                      <a:pt x="2806" y="320"/>
                    </a:cubicBezTo>
                    <a:cubicBezTo>
                      <a:pt x="2865" y="201"/>
                      <a:pt x="2821" y="104"/>
                      <a:pt x="2865" y="0"/>
                    </a:cubicBezTo>
                    <a:cubicBezTo>
                      <a:pt x="3155" y="282"/>
                      <a:pt x="3207" y="609"/>
                      <a:pt x="3274" y="1084"/>
                    </a:cubicBezTo>
                    <a:cubicBezTo>
                      <a:pt x="3289" y="1248"/>
                      <a:pt x="3511" y="1315"/>
                      <a:pt x="3667" y="1366"/>
                    </a:cubicBezTo>
                    <a:cubicBezTo>
                      <a:pt x="3749" y="1389"/>
                      <a:pt x="3756" y="1500"/>
                      <a:pt x="3779" y="1552"/>
                    </a:cubicBezTo>
                    <a:cubicBezTo>
                      <a:pt x="3845" y="1693"/>
                      <a:pt x="3979" y="1686"/>
                      <a:pt x="4053" y="1819"/>
                    </a:cubicBezTo>
                    <a:lnTo>
                      <a:pt x="9569" y="2116"/>
                    </a:lnTo>
                    <a:cubicBezTo>
                      <a:pt x="9458" y="2332"/>
                      <a:pt x="9361" y="2487"/>
                      <a:pt x="9354" y="2599"/>
                    </a:cubicBezTo>
                    <a:cubicBezTo>
                      <a:pt x="9339" y="2740"/>
                      <a:pt x="9243" y="2688"/>
                      <a:pt x="9213" y="3156"/>
                    </a:cubicBezTo>
                    <a:cubicBezTo>
                      <a:pt x="9206" y="3356"/>
                      <a:pt x="9064" y="3430"/>
                      <a:pt x="9161" y="3727"/>
                    </a:cubicBezTo>
                    <a:cubicBezTo>
                      <a:pt x="9198" y="3861"/>
                      <a:pt x="9116" y="4039"/>
                      <a:pt x="9161" y="4136"/>
                    </a:cubicBezTo>
                    <a:cubicBezTo>
                      <a:pt x="9250" y="4299"/>
                      <a:pt x="9220" y="4373"/>
                      <a:pt x="9198" y="4492"/>
                    </a:cubicBezTo>
                    <a:cubicBezTo>
                      <a:pt x="9168" y="4670"/>
                      <a:pt x="9339" y="4707"/>
                      <a:pt x="9280" y="4811"/>
                    </a:cubicBezTo>
                    <a:cubicBezTo>
                      <a:pt x="9220" y="4915"/>
                      <a:pt x="9257" y="5138"/>
                      <a:pt x="9109" y="5257"/>
                    </a:cubicBezTo>
                    <a:cubicBezTo>
                      <a:pt x="8812" y="5472"/>
                      <a:pt x="9064" y="5739"/>
                      <a:pt x="8931" y="5835"/>
                    </a:cubicBezTo>
                    <a:cubicBezTo>
                      <a:pt x="8842" y="5887"/>
                      <a:pt x="8946" y="6259"/>
                      <a:pt x="8730" y="6481"/>
                    </a:cubicBezTo>
                    <a:cubicBezTo>
                      <a:pt x="8612" y="6608"/>
                      <a:pt x="8604" y="6452"/>
                      <a:pt x="8478" y="6571"/>
                    </a:cubicBezTo>
                    <a:cubicBezTo>
                      <a:pt x="8062" y="6957"/>
                      <a:pt x="8277" y="7001"/>
                      <a:pt x="8166" y="7157"/>
                    </a:cubicBezTo>
                    <a:cubicBezTo>
                      <a:pt x="8047" y="7320"/>
                      <a:pt x="7921" y="7268"/>
                      <a:pt x="7832" y="7291"/>
                    </a:cubicBezTo>
                    <a:cubicBezTo>
                      <a:pt x="7788" y="7313"/>
                      <a:pt x="7639" y="7469"/>
                      <a:pt x="7646" y="7513"/>
                    </a:cubicBezTo>
                    <a:cubicBezTo>
                      <a:pt x="7654" y="7595"/>
                      <a:pt x="7468" y="7677"/>
                      <a:pt x="7416" y="7899"/>
                    </a:cubicBezTo>
                    <a:cubicBezTo>
                      <a:pt x="7379" y="8100"/>
                      <a:pt x="7194" y="7944"/>
                      <a:pt x="7112" y="8308"/>
                    </a:cubicBezTo>
                    <a:cubicBezTo>
                      <a:pt x="7082" y="8427"/>
                      <a:pt x="7008" y="8382"/>
                      <a:pt x="6986" y="8605"/>
                    </a:cubicBezTo>
                    <a:cubicBezTo>
                      <a:pt x="6978" y="8723"/>
                      <a:pt x="7105" y="8783"/>
                      <a:pt x="7090" y="8902"/>
                    </a:cubicBezTo>
                    <a:lnTo>
                      <a:pt x="7097" y="9065"/>
                    </a:lnTo>
                    <a:cubicBezTo>
                      <a:pt x="6941" y="9110"/>
                      <a:pt x="6711" y="8857"/>
                      <a:pt x="6696" y="8805"/>
                    </a:cubicBezTo>
                    <a:cubicBezTo>
                      <a:pt x="6622" y="8671"/>
                      <a:pt x="6733" y="8471"/>
                      <a:pt x="6533" y="8471"/>
                    </a:cubicBezTo>
                    <a:cubicBezTo>
                      <a:pt x="6533" y="8471"/>
                      <a:pt x="6429" y="8501"/>
                      <a:pt x="6355" y="8605"/>
                    </a:cubicBezTo>
                    <a:cubicBezTo>
                      <a:pt x="6221" y="8716"/>
                      <a:pt x="5887" y="8545"/>
                      <a:pt x="5835" y="8590"/>
                    </a:cubicBezTo>
                    <a:cubicBezTo>
                      <a:pt x="5798" y="8612"/>
                      <a:pt x="5605" y="8709"/>
                      <a:pt x="5583" y="8716"/>
                    </a:cubicBezTo>
                    <a:cubicBezTo>
                      <a:pt x="5456" y="8760"/>
                      <a:pt x="5367" y="8627"/>
                      <a:pt x="5278" y="8642"/>
                    </a:cubicBezTo>
                    <a:cubicBezTo>
                      <a:pt x="5063" y="8664"/>
                      <a:pt x="4818" y="8248"/>
                      <a:pt x="4469" y="8412"/>
                    </a:cubicBezTo>
                    <a:cubicBezTo>
                      <a:pt x="4395" y="8441"/>
                      <a:pt x="4254" y="8501"/>
                      <a:pt x="4209" y="8486"/>
                    </a:cubicBezTo>
                    <a:cubicBezTo>
                      <a:pt x="4083" y="8434"/>
                      <a:pt x="3972" y="8805"/>
                      <a:pt x="3801" y="8879"/>
                    </a:cubicBezTo>
                    <a:cubicBezTo>
                      <a:pt x="3719" y="8931"/>
                      <a:pt x="3660" y="8865"/>
                      <a:pt x="3586" y="8961"/>
                    </a:cubicBezTo>
                    <a:cubicBezTo>
                      <a:pt x="3519" y="9043"/>
                      <a:pt x="3571" y="9236"/>
                      <a:pt x="3459" y="9288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164"/>
              <p:cNvSpPr>
                <a:spLocks noEditPoints="1"/>
              </p:cNvSpPr>
              <p:nvPr/>
            </p:nvSpPr>
            <p:spPr bwMode="auto">
              <a:xfrm>
                <a:off x="4848263" y="5180389"/>
                <a:ext cx="837365" cy="799506"/>
              </a:xfrm>
              <a:custGeom>
                <a:avLst/>
                <a:gdLst>
                  <a:gd name="T0" fmla="*/ 169 w 5982"/>
                  <a:gd name="T1" fmla="*/ 43 h 5717"/>
                  <a:gd name="T2" fmla="*/ 63 w 5982"/>
                  <a:gd name="T3" fmla="*/ 148 h 5717"/>
                  <a:gd name="T4" fmla="*/ 4 w 5982"/>
                  <a:gd name="T5" fmla="*/ 225 h 5717"/>
                  <a:gd name="T6" fmla="*/ 8 w 5982"/>
                  <a:gd name="T7" fmla="*/ 229 h 5717"/>
                  <a:gd name="T8" fmla="*/ 18 w 5982"/>
                  <a:gd name="T9" fmla="*/ 230 h 5717"/>
                  <a:gd name="T10" fmla="*/ 30 w 5982"/>
                  <a:gd name="T11" fmla="*/ 221 h 5717"/>
                  <a:gd name="T12" fmla="*/ 43 w 5982"/>
                  <a:gd name="T13" fmla="*/ 219 h 5717"/>
                  <a:gd name="T14" fmla="*/ 54 w 5982"/>
                  <a:gd name="T15" fmla="*/ 224 h 5717"/>
                  <a:gd name="T16" fmla="*/ 65 w 5982"/>
                  <a:gd name="T17" fmla="*/ 233 h 5717"/>
                  <a:gd name="T18" fmla="*/ 78 w 5982"/>
                  <a:gd name="T19" fmla="*/ 242 h 5717"/>
                  <a:gd name="T20" fmla="*/ 89 w 5982"/>
                  <a:gd name="T21" fmla="*/ 253 h 5717"/>
                  <a:gd name="T22" fmla="*/ 103 w 5982"/>
                  <a:gd name="T23" fmla="*/ 268 h 5717"/>
                  <a:gd name="T24" fmla="*/ 101 w 5982"/>
                  <a:gd name="T25" fmla="*/ 280 h 5717"/>
                  <a:gd name="T26" fmla="*/ 102 w 5982"/>
                  <a:gd name="T27" fmla="*/ 289 h 5717"/>
                  <a:gd name="T28" fmla="*/ 120 w 5982"/>
                  <a:gd name="T29" fmla="*/ 281 h 5717"/>
                  <a:gd name="T30" fmla="*/ 125 w 5982"/>
                  <a:gd name="T31" fmla="*/ 273 h 5717"/>
                  <a:gd name="T32" fmla="*/ 137 w 5982"/>
                  <a:gd name="T33" fmla="*/ 280 h 5717"/>
                  <a:gd name="T34" fmla="*/ 142 w 5982"/>
                  <a:gd name="T35" fmla="*/ 287 h 5717"/>
                  <a:gd name="T36" fmla="*/ 148 w 5982"/>
                  <a:gd name="T37" fmla="*/ 296 h 5717"/>
                  <a:gd name="T38" fmla="*/ 154 w 5982"/>
                  <a:gd name="T39" fmla="*/ 304 h 5717"/>
                  <a:gd name="T40" fmla="*/ 165 w 5982"/>
                  <a:gd name="T41" fmla="*/ 305 h 5717"/>
                  <a:gd name="T42" fmla="*/ 178 w 5982"/>
                  <a:gd name="T43" fmla="*/ 316 h 5717"/>
                  <a:gd name="T44" fmla="*/ 189 w 5982"/>
                  <a:gd name="T45" fmla="*/ 319 h 5717"/>
                  <a:gd name="T46" fmla="*/ 206 w 5982"/>
                  <a:gd name="T47" fmla="*/ 340 h 5717"/>
                  <a:gd name="T48" fmla="*/ 220 w 5982"/>
                  <a:gd name="T49" fmla="*/ 350 h 5717"/>
                  <a:gd name="T50" fmla="*/ 224 w 5982"/>
                  <a:gd name="T51" fmla="*/ 348 h 5717"/>
                  <a:gd name="T52" fmla="*/ 235 w 5982"/>
                  <a:gd name="T53" fmla="*/ 359 h 5717"/>
                  <a:gd name="T54" fmla="*/ 245 w 5982"/>
                  <a:gd name="T55" fmla="*/ 371 h 5717"/>
                  <a:gd name="T56" fmla="*/ 249 w 5982"/>
                  <a:gd name="T57" fmla="*/ 385 h 5717"/>
                  <a:gd name="T58" fmla="*/ 257 w 5982"/>
                  <a:gd name="T59" fmla="*/ 393 h 5717"/>
                  <a:gd name="T60" fmla="*/ 266 w 5982"/>
                  <a:gd name="T61" fmla="*/ 401 h 5717"/>
                  <a:gd name="T62" fmla="*/ 272 w 5982"/>
                  <a:gd name="T63" fmla="*/ 411 h 5717"/>
                  <a:gd name="T64" fmla="*/ 267 w 5982"/>
                  <a:gd name="T65" fmla="*/ 420 h 5717"/>
                  <a:gd name="T66" fmla="*/ 250 w 5982"/>
                  <a:gd name="T67" fmla="*/ 434 h 5717"/>
                  <a:gd name="T68" fmla="*/ 245 w 5982"/>
                  <a:gd name="T69" fmla="*/ 444 h 5717"/>
                  <a:gd name="T70" fmla="*/ 248 w 5982"/>
                  <a:gd name="T71" fmla="*/ 453 h 5717"/>
                  <a:gd name="T72" fmla="*/ 252 w 5982"/>
                  <a:gd name="T73" fmla="*/ 471 h 5717"/>
                  <a:gd name="T74" fmla="*/ 256 w 5982"/>
                  <a:gd name="T75" fmla="*/ 480 h 5717"/>
                  <a:gd name="T76" fmla="*/ 287 w 5982"/>
                  <a:gd name="T77" fmla="*/ 459 h 5717"/>
                  <a:gd name="T78" fmla="*/ 334 w 5982"/>
                  <a:gd name="T79" fmla="*/ 388 h 5717"/>
                  <a:gd name="T80" fmla="*/ 346 w 5982"/>
                  <a:gd name="T81" fmla="*/ 328 h 5717"/>
                  <a:gd name="T82" fmla="*/ 396 w 5982"/>
                  <a:gd name="T83" fmla="*/ 274 h 5717"/>
                  <a:gd name="T84" fmla="*/ 410 w 5982"/>
                  <a:gd name="T85" fmla="*/ 221 h 5717"/>
                  <a:gd name="T86" fmla="*/ 428 w 5982"/>
                  <a:gd name="T87" fmla="*/ 232 h 5717"/>
                  <a:gd name="T88" fmla="*/ 451 w 5982"/>
                  <a:gd name="T89" fmla="*/ 226 h 5717"/>
                  <a:gd name="T90" fmla="*/ 462 w 5982"/>
                  <a:gd name="T91" fmla="*/ 232 h 5717"/>
                  <a:gd name="T92" fmla="*/ 418 w 5982"/>
                  <a:gd name="T93" fmla="*/ 289 h 5717"/>
                  <a:gd name="T94" fmla="*/ 379 w 5982"/>
                  <a:gd name="T95" fmla="*/ 333 h 5717"/>
                  <a:gd name="T96" fmla="*/ 455 w 5982"/>
                  <a:gd name="T97" fmla="*/ 275 h 5717"/>
                  <a:gd name="T98" fmla="*/ 507 w 5982"/>
                  <a:gd name="T99" fmla="*/ 172 h 5717"/>
                  <a:gd name="T100" fmla="*/ 494 w 5982"/>
                  <a:gd name="T101" fmla="*/ 117 h 5717"/>
                  <a:gd name="T102" fmla="*/ 421 w 5982"/>
                  <a:gd name="T103" fmla="*/ 62 h 5717"/>
                  <a:gd name="T104" fmla="*/ 267 w 5982"/>
                  <a:gd name="T105" fmla="*/ 0 h 5717"/>
                  <a:gd name="T106" fmla="*/ 0 w 5982"/>
                  <a:gd name="T107" fmla="*/ 227 h 571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982" h="5717">
                    <a:moveTo>
                      <a:pt x="2778" y="81"/>
                    </a:moveTo>
                    <a:cubicBezTo>
                      <a:pt x="2718" y="141"/>
                      <a:pt x="2629" y="193"/>
                      <a:pt x="2525" y="230"/>
                    </a:cubicBezTo>
                    <a:cubicBezTo>
                      <a:pt x="2414" y="274"/>
                      <a:pt x="2406" y="327"/>
                      <a:pt x="2295" y="364"/>
                    </a:cubicBezTo>
                    <a:cubicBezTo>
                      <a:pt x="2221" y="386"/>
                      <a:pt x="2013" y="438"/>
                      <a:pt x="1998" y="505"/>
                    </a:cubicBezTo>
                    <a:cubicBezTo>
                      <a:pt x="1939" y="668"/>
                      <a:pt x="1872" y="668"/>
                      <a:pt x="1701" y="742"/>
                    </a:cubicBezTo>
                    <a:cubicBezTo>
                      <a:pt x="1634" y="772"/>
                      <a:pt x="1367" y="965"/>
                      <a:pt x="1360" y="1024"/>
                    </a:cubicBezTo>
                    <a:cubicBezTo>
                      <a:pt x="1345" y="1084"/>
                      <a:pt x="1085" y="1262"/>
                      <a:pt x="1041" y="1344"/>
                    </a:cubicBezTo>
                    <a:cubicBezTo>
                      <a:pt x="951" y="1492"/>
                      <a:pt x="862" y="1648"/>
                      <a:pt x="744" y="1745"/>
                    </a:cubicBezTo>
                    <a:cubicBezTo>
                      <a:pt x="565" y="1900"/>
                      <a:pt x="610" y="2115"/>
                      <a:pt x="410" y="2205"/>
                    </a:cubicBezTo>
                    <a:lnTo>
                      <a:pt x="149" y="2451"/>
                    </a:lnTo>
                    <a:lnTo>
                      <a:pt x="15" y="2647"/>
                    </a:lnTo>
                    <a:cubicBezTo>
                      <a:pt x="27" y="2649"/>
                      <a:pt x="48" y="2654"/>
                      <a:pt x="52" y="2661"/>
                    </a:cubicBezTo>
                    <a:cubicBezTo>
                      <a:pt x="59" y="2672"/>
                      <a:pt x="63" y="2694"/>
                      <a:pt x="63" y="2694"/>
                    </a:cubicBezTo>
                    <a:lnTo>
                      <a:pt x="61" y="2731"/>
                    </a:lnTo>
                    <a:lnTo>
                      <a:pt x="87" y="2731"/>
                    </a:lnTo>
                    <a:lnTo>
                      <a:pt x="100" y="2707"/>
                    </a:lnTo>
                    <a:lnTo>
                      <a:pt x="137" y="2713"/>
                    </a:lnTo>
                    <a:lnTo>
                      <a:pt x="148" y="2739"/>
                    </a:lnTo>
                    <a:lnTo>
                      <a:pt x="194" y="2737"/>
                    </a:lnTo>
                    <a:lnTo>
                      <a:pt x="207" y="2718"/>
                    </a:lnTo>
                    <a:lnTo>
                      <a:pt x="246" y="2722"/>
                    </a:lnTo>
                    <a:lnTo>
                      <a:pt x="265" y="2737"/>
                    </a:lnTo>
                    <a:cubicBezTo>
                      <a:pt x="265" y="2737"/>
                      <a:pt x="311" y="2750"/>
                      <a:pt x="341" y="2711"/>
                    </a:cubicBezTo>
                    <a:cubicBezTo>
                      <a:pt x="372" y="2672"/>
                      <a:pt x="359" y="2615"/>
                      <a:pt x="359" y="2615"/>
                    </a:cubicBezTo>
                    <a:lnTo>
                      <a:pt x="420" y="2598"/>
                    </a:lnTo>
                    <a:lnTo>
                      <a:pt x="452" y="2583"/>
                    </a:lnTo>
                    <a:lnTo>
                      <a:pt x="485" y="2565"/>
                    </a:lnTo>
                    <a:lnTo>
                      <a:pt x="509" y="2583"/>
                    </a:lnTo>
                    <a:lnTo>
                      <a:pt x="555" y="2583"/>
                    </a:lnTo>
                    <a:lnTo>
                      <a:pt x="592" y="2572"/>
                    </a:lnTo>
                    <a:lnTo>
                      <a:pt x="624" y="2611"/>
                    </a:lnTo>
                    <a:lnTo>
                      <a:pt x="635" y="2646"/>
                    </a:lnTo>
                    <a:lnTo>
                      <a:pt x="674" y="2650"/>
                    </a:lnTo>
                    <a:lnTo>
                      <a:pt x="722" y="2687"/>
                    </a:lnTo>
                    <a:lnTo>
                      <a:pt x="737" y="2720"/>
                    </a:lnTo>
                    <a:lnTo>
                      <a:pt x="765" y="2757"/>
                    </a:lnTo>
                    <a:lnTo>
                      <a:pt x="792" y="2757"/>
                    </a:lnTo>
                    <a:lnTo>
                      <a:pt x="852" y="2826"/>
                    </a:lnTo>
                    <a:lnTo>
                      <a:pt x="896" y="2848"/>
                    </a:lnTo>
                    <a:lnTo>
                      <a:pt x="918" y="2861"/>
                    </a:lnTo>
                    <a:lnTo>
                      <a:pt x="918" y="2911"/>
                    </a:lnTo>
                    <a:lnTo>
                      <a:pt x="987" y="2924"/>
                    </a:lnTo>
                    <a:lnTo>
                      <a:pt x="989" y="2952"/>
                    </a:lnTo>
                    <a:lnTo>
                      <a:pt x="1046" y="2992"/>
                    </a:lnTo>
                    <a:lnTo>
                      <a:pt x="1094" y="3050"/>
                    </a:lnTo>
                    <a:lnTo>
                      <a:pt x="1139" y="3092"/>
                    </a:lnTo>
                    <a:lnTo>
                      <a:pt x="1150" y="3148"/>
                    </a:lnTo>
                    <a:lnTo>
                      <a:pt x="1213" y="3165"/>
                    </a:lnTo>
                    <a:lnTo>
                      <a:pt x="1235" y="3198"/>
                    </a:lnTo>
                    <a:lnTo>
                      <a:pt x="1235" y="3242"/>
                    </a:lnTo>
                    <a:lnTo>
                      <a:pt x="1200" y="3272"/>
                    </a:lnTo>
                    <a:lnTo>
                      <a:pt x="1192" y="3307"/>
                    </a:lnTo>
                    <a:lnTo>
                      <a:pt x="1209" y="3333"/>
                    </a:lnTo>
                    <a:lnTo>
                      <a:pt x="1211" y="3359"/>
                    </a:lnTo>
                    <a:lnTo>
                      <a:pt x="1203" y="3383"/>
                    </a:lnTo>
                    <a:lnTo>
                      <a:pt x="1200" y="3416"/>
                    </a:lnTo>
                    <a:lnTo>
                      <a:pt x="1296" y="3420"/>
                    </a:lnTo>
                    <a:lnTo>
                      <a:pt x="1350" y="3387"/>
                    </a:lnTo>
                    <a:lnTo>
                      <a:pt x="1398" y="3342"/>
                    </a:lnTo>
                    <a:lnTo>
                      <a:pt x="1416" y="3318"/>
                    </a:lnTo>
                    <a:lnTo>
                      <a:pt x="1459" y="3309"/>
                    </a:lnTo>
                    <a:lnTo>
                      <a:pt x="1470" y="3289"/>
                    </a:lnTo>
                    <a:lnTo>
                      <a:pt x="1459" y="3257"/>
                    </a:lnTo>
                    <a:lnTo>
                      <a:pt x="1472" y="3224"/>
                    </a:lnTo>
                    <a:lnTo>
                      <a:pt x="1522" y="3213"/>
                    </a:lnTo>
                    <a:cubicBezTo>
                      <a:pt x="1537" y="3242"/>
                      <a:pt x="1546" y="3268"/>
                      <a:pt x="1546" y="3268"/>
                    </a:cubicBezTo>
                    <a:lnTo>
                      <a:pt x="1583" y="3296"/>
                    </a:lnTo>
                    <a:lnTo>
                      <a:pt x="1622" y="3309"/>
                    </a:lnTo>
                    <a:lnTo>
                      <a:pt x="1640" y="3335"/>
                    </a:lnTo>
                    <a:lnTo>
                      <a:pt x="1629" y="3363"/>
                    </a:lnTo>
                    <a:lnTo>
                      <a:pt x="1670" y="3366"/>
                    </a:lnTo>
                    <a:lnTo>
                      <a:pt x="1674" y="3392"/>
                    </a:lnTo>
                    <a:lnTo>
                      <a:pt x="1700" y="3420"/>
                    </a:lnTo>
                    <a:lnTo>
                      <a:pt x="1705" y="3452"/>
                    </a:lnTo>
                    <a:lnTo>
                      <a:pt x="1694" y="3481"/>
                    </a:lnTo>
                    <a:lnTo>
                      <a:pt x="1746" y="3492"/>
                    </a:lnTo>
                    <a:lnTo>
                      <a:pt x="1763" y="3531"/>
                    </a:lnTo>
                    <a:lnTo>
                      <a:pt x="1770" y="3570"/>
                    </a:lnTo>
                    <a:lnTo>
                      <a:pt x="1794" y="3598"/>
                    </a:lnTo>
                    <a:lnTo>
                      <a:pt x="1818" y="3592"/>
                    </a:lnTo>
                    <a:lnTo>
                      <a:pt x="1866" y="3631"/>
                    </a:lnTo>
                    <a:lnTo>
                      <a:pt x="1907" y="3629"/>
                    </a:lnTo>
                    <a:lnTo>
                      <a:pt x="1914" y="3600"/>
                    </a:lnTo>
                    <a:lnTo>
                      <a:pt x="1946" y="3600"/>
                    </a:lnTo>
                    <a:lnTo>
                      <a:pt x="1983" y="3674"/>
                    </a:lnTo>
                    <a:lnTo>
                      <a:pt x="2024" y="3685"/>
                    </a:lnTo>
                    <a:lnTo>
                      <a:pt x="2064" y="3731"/>
                    </a:lnTo>
                    <a:lnTo>
                      <a:pt x="2096" y="3735"/>
                    </a:lnTo>
                    <a:lnTo>
                      <a:pt x="2120" y="3718"/>
                    </a:lnTo>
                    <a:lnTo>
                      <a:pt x="2148" y="3731"/>
                    </a:lnTo>
                    <a:lnTo>
                      <a:pt x="2177" y="3759"/>
                    </a:lnTo>
                    <a:lnTo>
                      <a:pt x="2231" y="3763"/>
                    </a:lnTo>
                    <a:lnTo>
                      <a:pt x="2279" y="3811"/>
                    </a:lnTo>
                    <a:lnTo>
                      <a:pt x="2335" y="3863"/>
                    </a:lnTo>
                    <a:lnTo>
                      <a:pt x="2333" y="3942"/>
                    </a:lnTo>
                    <a:lnTo>
                      <a:pt x="2427" y="4011"/>
                    </a:lnTo>
                    <a:lnTo>
                      <a:pt x="2477" y="4083"/>
                    </a:lnTo>
                    <a:lnTo>
                      <a:pt x="2527" y="4118"/>
                    </a:lnTo>
                    <a:lnTo>
                      <a:pt x="2555" y="4129"/>
                    </a:lnTo>
                    <a:lnTo>
                      <a:pt x="2598" y="4129"/>
                    </a:lnTo>
                    <a:lnTo>
                      <a:pt x="2609" y="4112"/>
                    </a:lnTo>
                    <a:lnTo>
                      <a:pt x="2624" y="4115"/>
                    </a:lnTo>
                    <a:lnTo>
                      <a:pt x="2626" y="4139"/>
                    </a:lnTo>
                    <a:lnTo>
                      <a:pt x="2645" y="4114"/>
                    </a:lnTo>
                    <a:lnTo>
                      <a:pt x="2673" y="4122"/>
                    </a:lnTo>
                    <a:lnTo>
                      <a:pt x="2668" y="4163"/>
                    </a:lnTo>
                    <a:lnTo>
                      <a:pt x="2711" y="4163"/>
                    </a:lnTo>
                    <a:lnTo>
                      <a:pt x="2768" y="4237"/>
                    </a:lnTo>
                    <a:lnTo>
                      <a:pt x="2840" y="4266"/>
                    </a:lnTo>
                    <a:lnTo>
                      <a:pt x="2853" y="4298"/>
                    </a:lnTo>
                    <a:lnTo>
                      <a:pt x="2842" y="4324"/>
                    </a:lnTo>
                    <a:lnTo>
                      <a:pt x="2887" y="4383"/>
                    </a:lnTo>
                    <a:lnTo>
                      <a:pt x="2918" y="4439"/>
                    </a:lnTo>
                    <a:lnTo>
                      <a:pt x="2920" y="4507"/>
                    </a:lnTo>
                    <a:lnTo>
                      <a:pt x="2922" y="4543"/>
                    </a:lnTo>
                    <a:lnTo>
                      <a:pt x="2936" y="4553"/>
                    </a:lnTo>
                    <a:cubicBezTo>
                      <a:pt x="2936" y="4553"/>
                      <a:pt x="2954" y="4580"/>
                      <a:pt x="2956" y="4584"/>
                    </a:cubicBezTo>
                    <a:cubicBezTo>
                      <a:pt x="2957" y="4588"/>
                      <a:pt x="2975" y="4617"/>
                      <a:pt x="2975" y="4617"/>
                    </a:cubicBezTo>
                    <a:cubicBezTo>
                      <a:pt x="2975" y="4617"/>
                      <a:pt x="2992" y="4633"/>
                      <a:pt x="2998" y="4636"/>
                    </a:cubicBezTo>
                    <a:cubicBezTo>
                      <a:pt x="3003" y="4638"/>
                      <a:pt x="3032" y="4648"/>
                      <a:pt x="3032" y="4648"/>
                    </a:cubicBezTo>
                    <a:lnTo>
                      <a:pt x="3047" y="4663"/>
                    </a:lnTo>
                    <a:lnTo>
                      <a:pt x="3065" y="4692"/>
                    </a:lnTo>
                    <a:lnTo>
                      <a:pt x="3105" y="4714"/>
                    </a:lnTo>
                    <a:lnTo>
                      <a:pt x="3144" y="4741"/>
                    </a:lnTo>
                    <a:lnTo>
                      <a:pt x="3189" y="4739"/>
                    </a:lnTo>
                    <a:lnTo>
                      <a:pt x="3235" y="4783"/>
                    </a:lnTo>
                    <a:lnTo>
                      <a:pt x="3233" y="4843"/>
                    </a:lnTo>
                    <a:lnTo>
                      <a:pt x="3205" y="4852"/>
                    </a:lnTo>
                    <a:lnTo>
                      <a:pt x="3186" y="4863"/>
                    </a:lnTo>
                    <a:lnTo>
                      <a:pt x="3144" y="4878"/>
                    </a:lnTo>
                    <a:lnTo>
                      <a:pt x="3157" y="4923"/>
                    </a:lnTo>
                    <a:lnTo>
                      <a:pt x="3154" y="4963"/>
                    </a:lnTo>
                    <a:lnTo>
                      <a:pt x="3109" y="5008"/>
                    </a:lnTo>
                    <a:lnTo>
                      <a:pt x="3108" y="5042"/>
                    </a:lnTo>
                    <a:lnTo>
                      <a:pt x="3005" y="5046"/>
                    </a:lnTo>
                    <a:lnTo>
                      <a:pt x="2951" y="5126"/>
                    </a:lnTo>
                    <a:lnTo>
                      <a:pt x="2916" y="5139"/>
                    </a:lnTo>
                    <a:lnTo>
                      <a:pt x="2899" y="5180"/>
                    </a:lnTo>
                    <a:lnTo>
                      <a:pt x="2921" y="5228"/>
                    </a:lnTo>
                    <a:lnTo>
                      <a:pt x="2888" y="5249"/>
                    </a:lnTo>
                    <a:lnTo>
                      <a:pt x="2912" y="5283"/>
                    </a:lnTo>
                    <a:lnTo>
                      <a:pt x="2940" y="5291"/>
                    </a:lnTo>
                    <a:lnTo>
                      <a:pt x="2948" y="5321"/>
                    </a:lnTo>
                    <a:lnTo>
                      <a:pt x="2926" y="5347"/>
                    </a:lnTo>
                    <a:lnTo>
                      <a:pt x="2930" y="5409"/>
                    </a:lnTo>
                    <a:lnTo>
                      <a:pt x="2939" y="5478"/>
                    </a:lnTo>
                    <a:lnTo>
                      <a:pt x="2964" y="5529"/>
                    </a:lnTo>
                    <a:cubicBezTo>
                      <a:pt x="2964" y="5529"/>
                      <a:pt x="2978" y="5539"/>
                      <a:pt x="2978" y="5569"/>
                    </a:cubicBezTo>
                    <a:cubicBezTo>
                      <a:pt x="2978" y="5598"/>
                      <a:pt x="2945" y="5614"/>
                      <a:pt x="2945" y="5614"/>
                    </a:cubicBezTo>
                    <a:lnTo>
                      <a:pt x="2945" y="5665"/>
                    </a:lnTo>
                    <a:lnTo>
                      <a:pt x="2973" y="5670"/>
                    </a:lnTo>
                    <a:lnTo>
                      <a:pt x="3018" y="5668"/>
                    </a:lnTo>
                    <a:lnTo>
                      <a:pt x="3034" y="5698"/>
                    </a:lnTo>
                    <a:lnTo>
                      <a:pt x="3043" y="5705"/>
                    </a:lnTo>
                    <a:lnTo>
                      <a:pt x="3080" y="5717"/>
                    </a:lnTo>
                    <a:lnTo>
                      <a:pt x="3386" y="5419"/>
                    </a:lnTo>
                    <a:lnTo>
                      <a:pt x="3646" y="5189"/>
                    </a:lnTo>
                    <a:lnTo>
                      <a:pt x="3771" y="5049"/>
                    </a:lnTo>
                    <a:lnTo>
                      <a:pt x="3901" y="4831"/>
                    </a:lnTo>
                    <a:lnTo>
                      <a:pt x="3938" y="4588"/>
                    </a:lnTo>
                    <a:lnTo>
                      <a:pt x="4018" y="4429"/>
                    </a:lnTo>
                    <a:lnTo>
                      <a:pt x="4133" y="4262"/>
                    </a:lnTo>
                    <a:lnTo>
                      <a:pt x="4061" y="4089"/>
                    </a:lnTo>
                    <a:lnTo>
                      <a:pt x="4082" y="3877"/>
                    </a:lnTo>
                    <a:lnTo>
                      <a:pt x="4242" y="3811"/>
                    </a:lnTo>
                    <a:lnTo>
                      <a:pt x="4305" y="3511"/>
                    </a:lnTo>
                    <a:lnTo>
                      <a:pt x="4527" y="3474"/>
                    </a:lnTo>
                    <a:lnTo>
                      <a:pt x="4667" y="3233"/>
                    </a:lnTo>
                    <a:lnTo>
                      <a:pt x="4753" y="2974"/>
                    </a:lnTo>
                    <a:lnTo>
                      <a:pt x="4833" y="2827"/>
                    </a:lnTo>
                    <a:lnTo>
                      <a:pt x="4868" y="2676"/>
                    </a:lnTo>
                    <a:lnTo>
                      <a:pt x="4837" y="2605"/>
                    </a:lnTo>
                    <a:lnTo>
                      <a:pt x="4925" y="2592"/>
                    </a:lnTo>
                    <a:lnTo>
                      <a:pt x="4990" y="2635"/>
                    </a:lnTo>
                    <a:lnTo>
                      <a:pt x="5054" y="2649"/>
                    </a:lnTo>
                    <a:lnTo>
                      <a:pt x="5049" y="2742"/>
                    </a:lnTo>
                    <a:lnTo>
                      <a:pt x="5118" y="2770"/>
                    </a:lnTo>
                    <a:lnTo>
                      <a:pt x="5189" y="2730"/>
                    </a:lnTo>
                    <a:lnTo>
                      <a:pt x="5231" y="2688"/>
                    </a:lnTo>
                    <a:lnTo>
                      <a:pt x="5326" y="2668"/>
                    </a:lnTo>
                    <a:lnTo>
                      <a:pt x="5355" y="2584"/>
                    </a:lnTo>
                    <a:lnTo>
                      <a:pt x="5456" y="2588"/>
                    </a:lnTo>
                    <a:lnTo>
                      <a:pt x="5475" y="2652"/>
                    </a:lnTo>
                    <a:lnTo>
                      <a:pt x="5452" y="2746"/>
                    </a:lnTo>
                    <a:lnTo>
                      <a:pt x="5342" y="2793"/>
                    </a:lnTo>
                    <a:lnTo>
                      <a:pt x="5319" y="3057"/>
                    </a:lnTo>
                    <a:lnTo>
                      <a:pt x="5119" y="3232"/>
                    </a:lnTo>
                    <a:lnTo>
                      <a:pt x="4937" y="3410"/>
                    </a:lnTo>
                    <a:lnTo>
                      <a:pt x="4938" y="3467"/>
                    </a:lnTo>
                    <a:lnTo>
                      <a:pt x="4915" y="3555"/>
                    </a:lnTo>
                    <a:lnTo>
                      <a:pt x="4707" y="3764"/>
                    </a:lnTo>
                    <a:lnTo>
                      <a:pt x="4469" y="3937"/>
                    </a:lnTo>
                    <a:lnTo>
                      <a:pt x="4277" y="3972"/>
                    </a:lnTo>
                    <a:lnTo>
                      <a:pt x="4277" y="4140"/>
                    </a:lnTo>
                    <a:cubicBezTo>
                      <a:pt x="4277" y="4208"/>
                      <a:pt x="4376" y="4066"/>
                      <a:pt x="4427" y="4046"/>
                    </a:cubicBezTo>
                    <a:cubicBezTo>
                      <a:pt x="4974" y="3711"/>
                      <a:pt x="5196" y="3506"/>
                      <a:pt x="5371" y="3254"/>
                    </a:cubicBezTo>
                    <a:cubicBezTo>
                      <a:pt x="5450" y="3140"/>
                      <a:pt x="5520" y="3015"/>
                      <a:pt x="5607" y="2863"/>
                    </a:cubicBezTo>
                    <a:cubicBezTo>
                      <a:pt x="5642" y="2802"/>
                      <a:pt x="5646" y="2710"/>
                      <a:pt x="5690" y="2639"/>
                    </a:cubicBezTo>
                    <a:cubicBezTo>
                      <a:pt x="5762" y="2473"/>
                      <a:pt x="5830" y="2356"/>
                      <a:pt x="5898" y="2198"/>
                    </a:cubicBezTo>
                    <a:cubicBezTo>
                      <a:pt x="5921" y="2145"/>
                      <a:pt x="5948" y="2073"/>
                      <a:pt x="5982" y="2030"/>
                    </a:cubicBezTo>
                    <a:cubicBezTo>
                      <a:pt x="5982" y="2030"/>
                      <a:pt x="5859" y="1841"/>
                      <a:pt x="5718" y="1841"/>
                    </a:cubicBezTo>
                    <a:cubicBezTo>
                      <a:pt x="5673" y="1841"/>
                      <a:pt x="5569" y="1975"/>
                      <a:pt x="5539" y="1848"/>
                    </a:cubicBezTo>
                    <a:cubicBezTo>
                      <a:pt x="5532" y="1782"/>
                      <a:pt x="5621" y="1760"/>
                      <a:pt x="5666" y="1715"/>
                    </a:cubicBezTo>
                    <a:cubicBezTo>
                      <a:pt x="5762" y="1618"/>
                      <a:pt x="5628" y="1544"/>
                      <a:pt x="5829" y="1381"/>
                    </a:cubicBezTo>
                    <a:cubicBezTo>
                      <a:pt x="5859" y="1351"/>
                      <a:pt x="5925" y="1329"/>
                      <a:pt x="5925" y="1292"/>
                    </a:cubicBezTo>
                    <a:cubicBezTo>
                      <a:pt x="5925" y="1210"/>
                      <a:pt x="5888" y="1158"/>
                      <a:pt x="5666" y="1173"/>
                    </a:cubicBezTo>
                    <a:cubicBezTo>
                      <a:pt x="5480" y="1195"/>
                      <a:pt x="5428" y="1210"/>
                      <a:pt x="5265" y="1114"/>
                    </a:cubicBezTo>
                    <a:cubicBezTo>
                      <a:pt x="5146" y="1039"/>
                      <a:pt x="5042" y="846"/>
                      <a:pt x="4968" y="735"/>
                    </a:cubicBezTo>
                    <a:cubicBezTo>
                      <a:pt x="4894" y="624"/>
                      <a:pt x="4567" y="371"/>
                      <a:pt x="4389" y="349"/>
                    </a:cubicBezTo>
                    <a:cubicBezTo>
                      <a:pt x="4196" y="327"/>
                      <a:pt x="4211" y="163"/>
                      <a:pt x="3906" y="119"/>
                    </a:cubicBezTo>
                    <a:cubicBezTo>
                      <a:pt x="3787" y="96"/>
                      <a:pt x="3698" y="148"/>
                      <a:pt x="3587" y="111"/>
                    </a:cubicBezTo>
                    <a:cubicBezTo>
                      <a:pt x="3468" y="74"/>
                      <a:pt x="3327" y="0"/>
                      <a:pt x="3156" y="0"/>
                    </a:cubicBezTo>
                    <a:cubicBezTo>
                      <a:pt x="3052" y="0"/>
                      <a:pt x="3015" y="89"/>
                      <a:pt x="2874" y="89"/>
                    </a:cubicBezTo>
                    <a:cubicBezTo>
                      <a:pt x="2837" y="89"/>
                      <a:pt x="2815" y="81"/>
                      <a:pt x="2778" y="81"/>
                    </a:cubicBezTo>
                    <a:close/>
                    <a:moveTo>
                      <a:pt x="3" y="2664"/>
                    </a:moveTo>
                    <a:cubicBezTo>
                      <a:pt x="0" y="2667"/>
                      <a:pt x="0" y="2672"/>
                      <a:pt x="2" y="2680"/>
                    </a:cubicBezTo>
                    <a:lnTo>
                      <a:pt x="3" y="2664"/>
                    </a:lnTo>
                    <a:close/>
                  </a:path>
                </a:pathLst>
              </a:custGeom>
              <a:solidFill>
                <a:srgbClr val="9FDE74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165"/>
              <p:cNvSpPr>
                <a:spLocks/>
              </p:cNvSpPr>
              <p:nvPr/>
            </p:nvSpPr>
            <p:spPr bwMode="auto">
              <a:xfrm>
                <a:off x="5328881" y="4303245"/>
                <a:ext cx="992616" cy="665704"/>
              </a:xfrm>
              <a:custGeom>
                <a:avLst/>
                <a:gdLst>
                  <a:gd name="T0" fmla="*/ 546 w 7083"/>
                  <a:gd name="T1" fmla="*/ 282 h 4758"/>
                  <a:gd name="T2" fmla="*/ 504 w 7083"/>
                  <a:gd name="T3" fmla="*/ 307 h 4758"/>
                  <a:gd name="T4" fmla="*/ 473 w 7083"/>
                  <a:gd name="T5" fmla="*/ 307 h 4758"/>
                  <a:gd name="T6" fmla="*/ 393 w 7083"/>
                  <a:gd name="T7" fmla="*/ 352 h 4758"/>
                  <a:gd name="T8" fmla="*/ 337 w 7083"/>
                  <a:gd name="T9" fmla="*/ 388 h 4758"/>
                  <a:gd name="T10" fmla="*/ 301 w 7083"/>
                  <a:gd name="T11" fmla="*/ 380 h 4758"/>
                  <a:gd name="T12" fmla="*/ 291 w 7083"/>
                  <a:gd name="T13" fmla="*/ 377 h 4758"/>
                  <a:gd name="T14" fmla="*/ 280 w 7083"/>
                  <a:gd name="T15" fmla="*/ 357 h 4758"/>
                  <a:gd name="T16" fmla="*/ 243 w 7083"/>
                  <a:gd name="T17" fmla="*/ 349 h 4758"/>
                  <a:gd name="T18" fmla="*/ 227 w 7083"/>
                  <a:gd name="T19" fmla="*/ 299 h 4758"/>
                  <a:gd name="T20" fmla="*/ 149 w 7083"/>
                  <a:gd name="T21" fmla="*/ 228 h 4758"/>
                  <a:gd name="T22" fmla="*/ 96 w 7083"/>
                  <a:gd name="T23" fmla="*/ 213 h 4758"/>
                  <a:gd name="T24" fmla="*/ 0 w 7083"/>
                  <a:gd name="T25" fmla="*/ 202 h 4758"/>
                  <a:gd name="T26" fmla="*/ 63 w 7083"/>
                  <a:gd name="T27" fmla="*/ 135 h 4758"/>
                  <a:gd name="T28" fmla="*/ 92 w 7083"/>
                  <a:gd name="T29" fmla="*/ 85 h 4758"/>
                  <a:gd name="T30" fmla="*/ 138 w 7083"/>
                  <a:gd name="T31" fmla="*/ 24 h 4758"/>
                  <a:gd name="T32" fmla="*/ 193 w 7083"/>
                  <a:gd name="T33" fmla="*/ 12 h 4758"/>
                  <a:gd name="T34" fmla="*/ 253 w 7083"/>
                  <a:gd name="T35" fmla="*/ 17 h 4758"/>
                  <a:gd name="T36" fmla="*/ 272 w 7083"/>
                  <a:gd name="T37" fmla="*/ 39 h 4758"/>
                  <a:gd name="T38" fmla="*/ 290 w 7083"/>
                  <a:gd name="T39" fmla="*/ 35 h 4758"/>
                  <a:gd name="T40" fmla="*/ 343 w 7083"/>
                  <a:gd name="T41" fmla="*/ 33 h 4758"/>
                  <a:gd name="T42" fmla="*/ 369 w 7083"/>
                  <a:gd name="T43" fmla="*/ 26 h 4758"/>
                  <a:gd name="T44" fmla="*/ 395 w 7083"/>
                  <a:gd name="T45" fmla="*/ 41 h 4758"/>
                  <a:gd name="T46" fmla="*/ 404 w 7083"/>
                  <a:gd name="T47" fmla="*/ 67 h 4758"/>
                  <a:gd name="T48" fmla="*/ 406 w 7083"/>
                  <a:gd name="T49" fmla="*/ 121 h 4758"/>
                  <a:gd name="T50" fmla="*/ 430 w 7083"/>
                  <a:gd name="T51" fmla="*/ 165 h 4758"/>
                  <a:gd name="T52" fmla="*/ 428 w 7083"/>
                  <a:gd name="T53" fmla="*/ 196 h 4758"/>
                  <a:gd name="T54" fmla="*/ 456 w 7083"/>
                  <a:gd name="T55" fmla="*/ 236 h 4758"/>
                  <a:gd name="T56" fmla="*/ 496 w 7083"/>
                  <a:gd name="T57" fmla="*/ 216 h 4758"/>
                  <a:gd name="T58" fmla="*/ 544 w 7083"/>
                  <a:gd name="T59" fmla="*/ 207 h 4758"/>
                  <a:gd name="T60" fmla="*/ 595 w 7083"/>
                  <a:gd name="T61" fmla="*/ 222 h 4758"/>
                  <a:gd name="T62" fmla="*/ 550 w 7083"/>
                  <a:gd name="T63" fmla="*/ 262 h 475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083" h="4758">
                    <a:moveTo>
                      <a:pt x="6615" y="3311"/>
                    </a:moveTo>
                    <a:cubicBezTo>
                      <a:pt x="6548" y="3333"/>
                      <a:pt x="6474" y="3333"/>
                      <a:pt x="6437" y="3333"/>
                    </a:cubicBezTo>
                    <a:cubicBezTo>
                      <a:pt x="6296" y="3378"/>
                      <a:pt x="6199" y="3474"/>
                      <a:pt x="6029" y="3496"/>
                    </a:cubicBezTo>
                    <a:cubicBezTo>
                      <a:pt x="6029" y="3496"/>
                      <a:pt x="5925" y="3533"/>
                      <a:pt x="5939" y="3622"/>
                    </a:cubicBezTo>
                    <a:cubicBezTo>
                      <a:pt x="5925" y="3667"/>
                      <a:pt x="5858" y="3682"/>
                      <a:pt x="5836" y="3667"/>
                    </a:cubicBezTo>
                    <a:cubicBezTo>
                      <a:pt x="5769" y="3615"/>
                      <a:pt x="5665" y="3622"/>
                      <a:pt x="5576" y="3630"/>
                    </a:cubicBezTo>
                    <a:cubicBezTo>
                      <a:pt x="5479" y="3637"/>
                      <a:pt x="5420" y="3764"/>
                      <a:pt x="5316" y="3778"/>
                    </a:cubicBezTo>
                    <a:cubicBezTo>
                      <a:pt x="4974" y="3816"/>
                      <a:pt x="4893" y="3949"/>
                      <a:pt x="4633" y="4157"/>
                    </a:cubicBezTo>
                    <a:cubicBezTo>
                      <a:pt x="4492" y="4276"/>
                      <a:pt x="4462" y="4253"/>
                      <a:pt x="4299" y="4357"/>
                    </a:cubicBezTo>
                    <a:cubicBezTo>
                      <a:pt x="4150" y="4454"/>
                      <a:pt x="4076" y="4528"/>
                      <a:pt x="3972" y="4580"/>
                    </a:cubicBezTo>
                    <a:cubicBezTo>
                      <a:pt x="3794" y="4692"/>
                      <a:pt x="4047" y="4639"/>
                      <a:pt x="3905" y="4758"/>
                    </a:cubicBezTo>
                    <a:cubicBezTo>
                      <a:pt x="3690" y="4758"/>
                      <a:pt x="3750" y="4521"/>
                      <a:pt x="3542" y="4491"/>
                    </a:cubicBezTo>
                    <a:cubicBezTo>
                      <a:pt x="3527" y="4551"/>
                      <a:pt x="3482" y="4595"/>
                      <a:pt x="3430" y="4595"/>
                    </a:cubicBezTo>
                    <a:lnTo>
                      <a:pt x="3430" y="4446"/>
                    </a:lnTo>
                    <a:cubicBezTo>
                      <a:pt x="3490" y="4395"/>
                      <a:pt x="3497" y="4387"/>
                      <a:pt x="3505" y="4298"/>
                    </a:cubicBezTo>
                    <a:cubicBezTo>
                      <a:pt x="3430" y="4261"/>
                      <a:pt x="3371" y="4261"/>
                      <a:pt x="3304" y="4216"/>
                    </a:cubicBezTo>
                    <a:lnTo>
                      <a:pt x="2948" y="4216"/>
                    </a:lnTo>
                    <a:cubicBezTo>
                      <a:pt x="2911" y="4194"/>
                      <a:pt x="2866" y="4164"/>
                      <a:pt x="2866" y="4120"/>
                    </a:cubicBezTo>
                    <a:cubicBezTo>
                      <a:pt x="2866" y="4083"/>
                      <a:pt x="2948" y="3994"/>
                      <a:pt x="2970" y="3979"/>
                    </a:cubicBezTo>
                    <a:cubicBezTo>
                      <a:pt x="2925" y="3912"/>
                      <a:pt x="2681" y="3570"/>
                      <a:pt x="2681" y="3526"/>
                    </a:cubicBezTo>
                    <a:cubicBezTo>
                      <a:pt x="2681" y="3236"/>
                      <a:pt x="2732" y="2872"/>
                      <a:pt x="2421" y="2724"/>
                    </a:cubicBezTo>
                    <a:cubicBezTo>
                      <a:pt x="2190" y="2613"/>
                      <a:pt x="2005" y="2739"/>
                      <a:pt x="1752" y="2687"/>
                    </a:cubicBezTo>
                    <a:cubicBezTo>
                      <a:pt x="1626" y="2665"/>
                      <a:pt x="1448" y="2464"/>
                      <a:pt x="1322" y="2464"/>
                    </a:cubicBezTo>
                    <a:cubicBezTo>
                      <a:pt x="1255" y="2464"/>
                      <a:pt x="1203" y="2509"/>
                      <a:pt x="1136" y="2509"/>
                    </a:cubicBezTo>
                    <a:cubicBezTo>
                      <a:pt x="980" y="2509"/>
                      <a:pt x="891" y="2390"/>
                      <a:pt x="773" y="2390"/>
                    </a:cubicBezTo>
                    <a:cubicBezTo>
                      <a:pt x="587" y="2390"/>
                      <a:pt x="290" y="2434"/>
                      <a:pt x="0" y="2390"/>
                    </a:cubicBezTo>
                    <a:cubicBezTo>
                      <a:pt x="82" y="2293"/>
                      <a:pt x="127" y="2197"/>
                      <a:pt x="349" y="2138"/>
                    </a:cubicBezTo>
                    <a:cubicBezTo>
                      <a:pt x="535" y="2078"/>
                      <a:pt x="750" y="1700"/>
                      <a:pt x="743" y="1588"/>
                    </a:cubicBezTo>
                    <a:cubicBezTo>
                      <a:pt x="721" y="1455"/>
                      <a:pt x="854" y="1551"/>
                      <a:pt x="891" y="1440"/>
                    </a:cubicBezTo>
                    <a:cubicBezTo>
                      <a:pt x="899" y="1099"/>
                      <a:pt x="1070" y="1099"/>
                      <a:pt x="1084" y="1009"/>
                    </a:cubicBezTo>
                    <a:cubicBezTo>
                      <a:pt x="1144" y="608"/>
                      <a:pt x="1285" y="698"/>
                      <a:pt x="1329" y="579"/>
                    </a:cubicBezTo>
                    <a:cubicBezTo>
                      <a:pt x="1404" y="386"/>
                      <a:pt x="1634" y="594"/>
                      <a:pt x="1626" y="282"/>
                    </a:cubicBezTo>
                    <a:cubicBezTo>
                      <a:pt x="1975" y="192"/>
                      <a:pt x="2012" y="0"/>
                      <a:pt x="2064" y="44"/>
                    </a:cubicBezTo>
                    <a:cubicBezTo>
                      <a:pt x="2176" y="118"/>
                      <a:pt x="2168" y="133"/>
                      <a:pt x="2272" y="141"/>
                    </a:cubicBezTo>
                    <a:cubicBezTo>
                      <a:pt x="2354" y="148"/>
                      <a:pt x="2525" y="200"/>
                      <a:pt x="2592" y="200"/>
                    </a:cubicBezTo>
                    <a:cubicBezTo>
                      <a:pt x="2658" y="200"/>
                      <a:pt x="2888" y="215"/>
                      <a:pt x="2985" y="200"/>
                    </a:cubicBezTo>
                    <a:cubicBezTo>
                      <a:pt x="3044" y="319"/>
                      <a:pt x="2970" y="438"/>
                      <a:pt x="3066" y="512"/>
                    </a:cubicBezTo>
                    <a:cubicBezTo>
                      <a:pt x="3119" y="534"/>
                      <a:pt x="3148" y="438"/>
                      <a:pt x="3208" y="460"/>
                    </a:cubicBezTo>
                    <a:cubicBezTo>
                      <a:pt x="3386" y="497"/>
                      <a:pt x="3289" y="616"/>
                      <a:pt x="3349" y="549"/>
                    </a:cubicBezTo>
                    <a:cubicBezTo>
                      <a:pt x="3349" y="549"/>
                      <a:pt x="3304" y="430"/>
                      <a:pt x="3415" y="415"/>
                    </a:cubicBezTo>
                    <a:cubicBezTo>
                      <a:pt x="3556" y="393"/>
                      <a:pt x="3601" y="393"/>
                      <a:pt x="3712" y="371"/>
                    </a:cubicBezTo>
                    <a:cubicBezTo>
                      <a:pt x="3853" y="334"/>
                      <a:pt x="3920" y="430"/>
                      <a:pt x="4039" y="393"/>
                    </a:cubicBezTo>
                    <a:cubicBezTo>
                      <a:pt x="4210" y="415"/>
                      <a:pt x="4165" y="363"/>
                      <a:pt x="4202" y="282"/>
                    </a:cubicBezTo>
                    <a:cubicBezTo>
                      <a:pt x="4277" y="297"/>
                      <a:pt x="4306" y="260"/>
                      <a:pt x="4351" y="311"/>
                    </a:cubicBezTo>
                    <a:cubicBezTo>
                      <a:pt x="4381" y="289"/>
                      <a:pt x="4440" y="260"/>
                      <a:pt x="4492" y="282"/>
                    </a:cubicBezTo>
                    <a:cubicBezTo>
                      <a:pt x="4551" y="378"/>
                      <a:pt x="4655" y="348"/>
                      <a:pt x="4655" y="482"/>
                    </a:cubicBezTo>
                    <a:cubicBezTo>
                      <a:pt x="4655" y="527"/>
                      <a:pt x="4633" y="631"/>
                      <a:pt x="4633" y="653"/>
                    </a:cubicBezTo>
                    <a:cubicBezTo>
                      <a:pt x="4633" y="749"/>
                      <a:pt x="4759" y="698"/>
                      <a:pt x="4759" y="794"/>
                    </a:cubicBezTo>
                    <a:cubicBezTo>
                      <a:pt x="4759" y="875"/>
                      <a:pt x="4663" y="920"/>
                      <a:pt x="4663" y="1002"/>
                    </a:cubicBezTo>
                    <a:cubicBezTo>
                      <a:pt x="4663" y="1061"/>
                      <a:pt x="4782" y="1410"/>
                      <a:pt x="4789" y="1432"/>
                    </a:cubicBezTo>
                    <a:cubicBezTo>
                      <a:pt x="4863" y="1618"/>
                      <a:pt x="5145" y="1351"/>
                      <a:pt x="5190" y="1633"/>
                    </a:cubicBezTo>
                    <a:cubicBezTo>
                      <a:pt x="5204" y="1744"/>
                      <a:pt x="5078" y="1670"/>
                      <a:pt x="5064" y="1945"/>
                    </a:cubicBezTo>
                    <a:cubicBezTo>
                      <a:pt x="5056" y="2004"/>
                      <a:pt x="5026" y="2108"/>
                      <a:pt x="5049" y="2115"/>
                    </a:cubicBezTo>
                    <a:cubicBezTo>
                      <a:pt x="5041" y="2204"/>
                      <a:pt x="5041" y="2234"/>
                      <a:pt x="5041" y="2316"/>
                    </a:cubicBezTo>
                    <a:cubicBezTo>
                      <a:pt x="5041" y="2449"/>
                      <a:pt x="5242" y="2353"/>
                      <a:pt x="5219" y="2576"/>
                    </a:cubicBezTo>
                    <a:cubicBezTo>
                      <a:pt x="5219" y="2620"/>
                      <a:pt x="5360" y="2784"/>
                      <a:pt x="5375" y="2784"/>
                    </a:cubicBezTo>
                    <a:cubicBezTo>
                      <a:pt x="5442" y="2835"/>
                      <a:pt x="5561" y="2739"/>
                      <a:pt x="5702" y="2739"/>
                    </a:cubicBezTo>
                    <a:cubicBezTo>
                      <a:pt x="5776" y="2732"/>
                      <a:pt x="5724" y="2554"/>
                      <a:pt x="5850" y="2554"/>
                    </a:cubicBezTo>
                    <a:cubicBezTo>
                      <a:pt x="5895" y="2554"/>
                      <a:pt x="5925" y="2613"/>
                      <a:pt x="5969" y="2613"/>
                    </a:cubicBezTo>
                    <a:cubicBezTo>
                      <a:pt x="6244" y="2613"/>
                      <a:pt x="6199" y="2449"/>
                      <a:pt x="6415" y="2449"/>
                    </a:cubicBezTo>
                    <a:cubicBezTo>
                      <a:pt x="6556" y="2449"/>
                      <a:pt x="6585" y="2509"/>
                      <a:pt x="6645" y="2576"/>
                    </a:cubicBezTo>
                    <a:cubicBezTo>
                      <a:pt x="6704" y="2635"/>
                      <a:pt x="6964" y="2605"/>
                      <a:pt x="7008" y="2620"/>
                    </a:cubicBezTo>
                    <a:cubicBezTo>
                      <a:pt x="7083" y="2724"/>
                      <a:pt x="6927" y="2791"/>
                      <a:pt x="6867" y="2813"/>
                    </a:cubicBezTo>
                    <a:cubicBezTo>
                      <a:pt x="6697" y="2872"/>
                      <a:pt x="6482" y="2821"/>
                      <a:pt x="6482" y="3088"/>
                    </a:cubicBezTo>
                    <a:cubicBezTo>
                      <a:pt x="6482" y="3155"/>
                      <a:pt x="6615" y="3311"/>
                      <a:pt x="6615" y="3311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166"/>
              <p:cNvSpPr>
                <a:spLocks/>
              </p:cNvSpPr>
              <p:nvPr/>
            </p:nvSpPr>
            <p:spPr bwMode="auto">
              <a:xfrm>
                <a:off x="5555151" y="3672230"/>
                <a:ext cx="1301467" cy="1029116"/>
              </a:xfrm>
              <a:custGeom>
                <a:avLst/>
                <a:gdLst>
                  <a:gd name="T0" fmla="*/ 777 w 9295"/>
                  <a:gd name="T1" fmla="*/ 163 h 7342"/>
                  <a:gd name="T2" fmla="*/ 736 w 9295"/>
                  <a:gd name="T3" fmla="*/ 205 h 7342"/>
                  <a:gd name="T4" fmla="*/ 752 w 9295"/>
                  <a:gd name="T5" fmla="*/ 272 h 7342"/>
                  <a:gd name="T6" fmla="*/ 735 w 9295"/>
                  <a:gd name="T7" fmla="*/ 277 h 7342"/>
                  <a:gd name="T8" fmla="*/ 708 w 9295"/>
                  <a:gd name="T9" fmla="*/ 290 h 7342"/>
                  <a:gd name="T10" fmla="*/ 685 w 9295"/>
                  <a:gd name="T11" fmla="*/ 308 h 7342"/>
                  <a:gd name="T12" fmla="*/ 682 w 9295"/>
                  <a:gd name="T13" fmla="*/ 341 h 7342"/>
                  <a:gd name="T14" fmla="*/ 696 w 9295"/>
                  <a:gd name="T15" fmla="*/ 374 h 7342"/>
                  <a:gd name="T16" fmla="*/ 628 w 9295"/>
                  <a:gd name="T17" fmla="*/ 449 h 7342"/>
                  <a:gd name="T18" fmla="*/ 590 w 9295"/>
                  <a:gd name="T19" fmla="*/ 537 h 7342"/>
                  <a:gd name="T20" fmla="*/ 497 w 9295"/>
                  <a:gd name="T21" fmla="*/ 565 h 7342"/>
                  <a:gd name="T22" fmla="*/ 415 w 9295"/>
                  <a:gd name="T23" fmla="*/ 592 h 7342"/>
                  <a:gd name="T24" fmla="*/ 369 w 9295"/>
                  <a:gd name="T25" fmla="*/ 604 h 7342"/>
                  <a:gd name="T26" fmla="*/ 347 w 9295"/>
                  <a:gd name="T27" fmla="*/ 615 h 7342"/>
                  <a:gd name="T28" fmla="*/ 306 w 9295"/>
                  <a:gd name="T29" fmla="*/ 601 h 7342"/>
                  <a:gd name="T30" fmla="*/ 291 w 9295"/>
                  <a:gd name="T31" fmla="*/ 562 h 7342"/>
                  <a:gd name="T32" fmla="*/ 303 w 9295"/>
                  <a:gd name="T33" fmla="*/ 521 h 7342"/>
                  <a:gd name="T34" fmla="*/ 259 w 9295"/>
                  <a:gd name="T35" fmla="*/ 467 h 7342"/>
                  <a:gd name="T36" fmla="*/ 256 w 9295"/>
                  <a:gd name="T37" fmla="*/ 438 h 7342"/>
                  <a:gd name="T38" fmla="*/ 244 w 9295"/>
                  <a:gd name="T39" fmla="*/ 406 h 7342"/>
                  <a:gd name="T40" fmla="*/ 220 w 9295"/>
                  <a:gd name="T41" fmla="*/ 406 h 7342"/>
                  <a:gd name="T42" fmla="*/ 178 w 9295"/>
                  <a:gd name="T43" fmla="*/ 414 h 7342"/>
                  <a:gd name="T44" fmla="*/ 147 w 9295"/>
                  <a:gd name="T45" fmla="*/ 429 h 7342"/>
                  <a:gd name="T46" fmla="*/ 123 w 9295"/>
                  <a:gd name="T47" fmla="*/ 426 h 7342"/>
                  <a:gd name="T48" fmla="*/ 83 w 9295"/>
                  <a:gd name="T49" fmla="*/ 399 h 7342"/>
                  <a:gd name="T50" fmla="*/ 38 w 9295"/>
                  <a:gd name="T51" fmla="*/ 386 h 7342"/>
                  <a:gd name="T52" fmla="*/ 9 w 9295"/>
                  <a:gd name="T53" fmla="*/ 360 h 7342"/>
                  <a:gd name="T54" fmla="*/ 44 w 9295"/>
                  <a:gd name="T55" fmla="*/ 314 h 7342"/>
                  <a:gd name="T56" fmla="*/ 98 w 9295"/>
                  <a:gd name="T57" fmla="*/ 299 h 7342"/>
                  <a:gd name="T58" fmla="*/ 128 w 9295"/>
                  <a:gd name="T59" fmla="*/ 290 h 7342"/>
                  <a:gd name="T60" fmla="*/ 188 w 9295"/>
                  <a:gd name="T61" fmla="*/ 287 h 7342"/>
                  <a:gd name="T62" fmla="*/ 248 w 9295"/>
                  <a:gd name="T63" fmla="*/ 277 h 7342"/>
                  <a:gd name="T64" fmla="*/ 263 w 9295"/>
                  <a:gd name="T65" fmla="*/ 230 h 7342"/>
                  <a:gd name="T66" fmla="*/ 270 w 9295"/>
                  <a:gd name="T67" fmla="*/ 187 h 7342"/>
                  <a:gd name="T68" fmla="*/ 264 w 9295"/>
                  <a:gd name="T69" fmla="*/ 127 h 7342"/>
                  <a:gd name="T70" fmla="*/ 291 w 9295"/>
                  <a:gd name="T71" fmla="*/ 84 h 7342"/>
                  <a:gd name="T72" fmla="*/ 294 w 9295"/>
                  <a:gd name="T73" fmla="*/ 57 h 7342"/>
                  <a:gd name="T74" fmla="*/ 319 w 9295"/>
                  <a:gd name="T75" fmla="*/ 50 h 7342"/>
                  <a:gd name="T76" fmla="*/ 326 w 9295"/>
                  <a:gd name="T77" fmla="*/ 28 h 7342"/>
                  <a:gd name="T78" fmla="*/ 356 w 9295"/>
                  <a:gd name="T79" fmla="*/ 42 h 7342"/>
                  <a:gd name="T80" fmla="*/ 373 w 9295"/>
                  <a:gd name="T81" fmla="*/ 59 h 7342"/>
                  <a:gd name="T82" fmla="*/ 426 w 9295"/>
                  <a:gd name="T83" fmla="*/ 28 h 7342"/>
                  <a:gd name="T84" fmla="*/ 481 w 9295"/>
                  <a:gd name="T85" fmla="*/ 0 h 7342"/>
                  <a:gd name="T86" fmla="*/ 509 w 9295"/>
                  <a:gd name="T87" fmla="*/ 28 h 7342"/>
                  <a:gd name="T88" fmla="*/ 560 w 9295"/>
                  <a:gd name="T89" fmla="*/ 31 h 7342"/>
                  <a:gd name="T90" fmla="*/ 630 w 9295"/>
                  <a:gd name="T91" fmla="*/ 73 h 7342"/>
                  <a:gd name="T92" fmla="*/ 689 w 9295"/>
                  <a:gd name="T93" fmla="*/ 118 h 7342"/>
                  <a:gd name="T94" fmla="*/ 773 w 9295"/>
                  <a:gd name="T95" fmla="*/ 137 h 734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9295" h="7342">
                    <a:moveTo>
                      <a:pt x="9117" y="1619"/>
                    </a:moveTo>
                    <a:cubicBezTo>
                      <a:pt x="9243" y="1678"/>
                      <a:pt x="9295" y="1841"/>
                      <a:pt x="9169" y="1923"/>
                    </a:cubicBezTo>
                    <a:cubicBezTo>
                      <a:pt x="9058" y="1983"/>
                      <a:pt x="8902" y="2101"/>
                      <a:pt x="8902" y="2198"/>
                    </a:cubicBezTo>
                    <a:cubicBezTo>
                      <a:pt x="8902" y="2472"/>
                      <a:pt x="8738" y="2346"/>
                      <a:pt x="8686" y="2421"/>
                    </a:cubicBezTo>
                    <a:cubicBezTo>
                      <a:pt x="8486" y="2747"/>
                      <a:pt x="8620" y="2821"/>
                      <a:pt x="8664" y="2888"/>
                    </a:cubicBezTo>
                    <a:cubicBezTo>
                      <a:pt x="8709" y="3029"/>
                      <a:pt x="8798" y="3089"/>
                      <a:pt x="8865" y="3200"/>
                    </a:cubicBezTo>
                    <a:cubicBezTo>
                      <a:pt x="8909" y="3282"/>
                      <a:pt x="8865" y="3267"/>
                      <a:pt x="8850" y="3356"/>
                    </a:cubicBezTo>
                    <a:cubicBezTo>
                      <a:pt x="8835" y="3356"/>
                      <a:pt x="8709" y="3245"/>
                      <a:pt x="8664" y="3267"/>
                    </a:cubicBezTo>
                    <a:cubicBezTo>
                      <a:pt x="8545" y="3311"/>
                      <a:pt x="8464" y="3274"/>
                      <a:pt x="8352" y="3304"/>
                    </a:cubicBezTo>
                    <a:cubicBezTo>
                      <a:pt x="8263" y="3311"/>
                      <a:pt x="8352" y="3363"/>
                      <a:pt x="8352" y="3415"/>
                    </a:cubicBezTo>
                    <a:cubicBezTo>
                      <a:pt x="8352" y="3512"/>
                      <a:pt x="8271" y="3445"/>
                      <a:pt x="8233" y="3445"/>
                    </a:cubicBezTo>
                    <a:cubicBezTo>
                      <a:pt x="8189" y="3445"/>
                      <a:pt x="8026" y="3586"/>
                      <a:pt x="8085" y="3631"/>
                    </a:cubicBezTo>
                    <a:cubicBezTo>
                      <a:pt x="8233" y="3749"/>
                      <a:pt x="8130" y="3824"/>
                      <a:pt x="8219" y="3920"/>
                    </a:cubicBezTo>
                    <a:cubicBezTo>
                      <a:pt x="8345" y="4068"/>
                      <a:pt x="8137" y="4002"/>
                      <a:pt x="8048" y="4016"/>
                    </a:cubicBezTo>
                    <a:cubicBezTo>
                      <a:pt x="7907" y="4002"/>
                      <a:pt x="8137" y="4121"/>
                      <a:pt x="8122" y="4165"/>
                    </a:cubicBezTo>
                    <a:cubicBezTo>
                      <a:pt x="8093" y="4284"/>
                      <a:pt x="8219" y="4269"/>
                      <a:pt x="8204" y="4410"/>
                    </a:cubicBezTo>
                    <a:cubicBezTo>
                      <a:pt x="8196" y="4611"/>
                      <a:pt x="7981" y="4603"/>
                      <a:pt x="7848" y="5034"/>
                    </a:cubicBezTo>
                    <a:cubicBezTo>
                      <a:pt x="7766" y="5353"/>
                      <a:pt x="7476" y="5086"/>
                      <a:pt x="7409" y="5286"/>
                    </a:cubicBezTo>
                    <a:cubicBezTo>
                      <a:pt x="7395" y="5331"/>
                      <a:pt x="7372" y="5628"/>
                      <a:pt x="7372" y="5628"/>
                    </a:cubicBezTo>
                    <a:cubicBezTo>
                      <a:pt x="7276" y="5732"/>
                      <a:pt x="6957" y="6043"/>
                      <a:pt x="6957" y="6325"/>
                    </a:cubicBezTo>
                    <a:cubicBezTo>
                      <a:pt x="6957" y="6541"/>
                      <a:pt x="6452" y="6622"/>
                      <a:pt x="6348" y="6682"/>
                    </a:cubicBezTo>
                    <a:cubicBezTo>
                      <a:pt x="6214" y="6771"/>
                      <a:pt x="6043" y="6660"/>
                      <a:pt x="5865" y="6660"/>
                    </a:cubicBezTo>
                    <a:cubicBezTo>
                      <a:pt x="5732" y="6660"/>
                      <a:pt x="5554" y="6748"/>
                      <a:pt x="5450" y="6786"/>
                    </a:cubicBezTo>
                    <a:cubicBezTo>
                      <a:pt x="5219" y="6845"/>
                      <a:pt x="5101" y="6860"/>
                      <a:pt x="4900" y="6971"/>
                    </a:cubicBezTo>
                    <a:cubicBezTo>
                      <a:pt x="4871" y="6956"/>
                      <a:pt x="4841" y="6956"/>
                      <a:pt x="4804" y="6956"/>
                    </a:cubicBezTo>
                    <a:cubicBezTo>
                      <a:pt x="4588" y="6956"/>
                      <a:pt x="4633" y="7120"/>
                      <a:pt x="4358" y="7120"/>
                    </a:cubicBezTo>
                    <a:cubicBezTo>
                      <a:pt x="4314" y="7120"/>
                      <a:pt x="4284" y="7061"/>
                      <a:pt x="4239" y="7061"/>
                    </a:cubicBezTo>
                    <a:cubicBezTo>
                      <a:pt x="4113" y="7061"/>
                      <a:pt x="4165" y="7239"/>
                      <a:pt x="4091" y="7246"/>
                    </a:cubicBezTo>
                    <a:cubicBezTo>
                      <a:pt x="3950" y="7246"/>
                      <a:pt x="3831" y="7342"/>
                      <a:pt x="3764" y="7291"/>
                    </a:cubicBezTo>
                    <a:cubicBezTo>
                      <a:pt x="3750" y="7291"/>
                      <a:pt x="3608" y="7127"/>
                      <a:pt x="3608" y="7083"/>
                    </a:cubicBezTo>
                    <a:cubicBezTo>
                      <a:pt x="3631" y="6860"/>
                      <a:pt x="3430" y="6956"/>
                      <a:pt x="3430" y="6823"/>
                    </a:cubicBezTo>
                    <a:cubicBezTo>
                      <a:pt x="3430" y="6741"/>
                      <a:pt x="3430" y="6711"/>
                      <a:pt x="3438" y="6622"/>
                    </a:cubicBezTo>
                    <a:cubicBezTo>
                      <a:pt x="3415" y="6615"/>
                      <a:pt x="3445" y="6511"/>
                      <a:pt x="3453" y="6452"/>
                    </a:cubicBezTo>
                    <a:cubicBezTo>
                      <a:pt x="3467" y="6177"/>
                      <a:pt x="3593" y="6251"/>
                      <a:pt x="3579" y="6140"/>
                    </a:cubicBezTo>
                    <a:cubicBezTo>
                      <a:pt x="3534" y="5858"/>
                      <a:pt x="3252" y="6125"/>
                      <a:pt x="3178" y="5939"/>
                    </a:cubicBezTo>
                    <a:cubicBezTo>
                      <a:pt x="3171" y="5917"/>
                      <a:pt x="3052" y="5568"/>
                      <a:pt x="3052" y="5509"/>
                    </a:cubicBezTo>
                    <a:cubicBezTo>
                      <a:pt x="3052" y="5427"/>
                      <a:pt x="3148" y="5383"/>
                      <a:pt x="3148" y="5301"/>
                    </a:cubicBezTo>
                    <a:cubicBezTo>
                      <a:pt x="3148" y="5205"/>
                      <a:pt x="3022" y="5256"/>
                      <a:pt x="3022" y="5160"/>
                    </a:cubicBezTo>
                    <a:cubicBezTo>
                      <a:pt x="3022" y="5138"/>
                      <a:pt x="3044" y="5034"/>
                      <a:pt x="3044" y="4989"/>
                    </a:cubicBezTo>
                    <a:cubicBezTo>
                      <a:pt x="3044" y="4856"/>
                      <a:pt x="2940" y="4885"/>
                      <a:pt x="2881" y="4789"/>
                    </a:cubicBezTo>
                    <a:cubicBezTo>
                      <a:pt x="2829" y="4766"/>
                      <a:pt x="2770" y="4796"/>
                      <a:pt x="2740" y="4819"/>
                    </a:cubicBezTo>
                    <a:cubicBezTo>
                      <a:pt x="2695" y="4766"/>
                      <a:pt x="2666" y="4804"/>
                      <a:pt x="2591" y="4789"/>
                    </a:cubicBezTo>
                    <a:cubicBezTo>
                      <a:pt x="2554" y="4870"/>
                      <a:pt x="2599" y="4922"/>
                      <a:pt x="2428" y="4900"/>
                    </a:cubicBezTo>
                    <a:cubicBezTo>
                      <a:pt x="2309" y="4937"/>
                      <a:pt x="2242" y="4841"/>
                      <a:pt x="2101" y="4878"/>
                    </a:cubicBezTo>
                    <a:cubicBezTo>
                      <a:pt x="1990" y="4900"/>
                      <a:pt x="1945" y="4900"/>
                      <a:pt x="1804" y="4922"/>
                    </a:cubicBezTo>
                    <a:cubicBezTo>
                      <a:pt x="1693" y="4937"/>
                      <a:pt x="1737" y="5056"/>
                      <a:pt x="1737" y="5056"/>
                    </a:cubicBezTo>
                    <a:cubicBezTo>
                      <a:pt x="1678" y="5123"/>
                      <a:pt x="1775" y="5004"/>
                      <a:pt x="1596" y="4967"/>
                    </a:cubicBezTo>
                    <a:cubicBezTo>
                      <a:pt x="1537" y="4945"/>
                      <a:pt x="1508" y="5041"/>
                      <a:pt x="1455" y="5019"/>
                    </a:cubicBezTo>
                    <a:cubicBezTo>
                      <a:pt x="1359" y="4945"/>
                      <a:pt x="1433" y="4826"/>
                      <a:pt x="1374" y="4707"/>
                    </a:cubicBezTo>
                    <a:cubicBezTo>
                      <a:pt x="1277" y="4722"/>
                      <a:pt x="1047" y="4707"/>
                      <a:pt x="980" y="4707"/>
                    </a:cubicBezTo>
                    <a:cubicBezTo>
                      <a:pt x="914" y="4707"/>
                      <a:pt x="743" y="4655"/>
                      <a:pt x="661" y="4648"/>
                    </a:cubicBezTo>
                    <a:cubicBezTo>
                      <a:pt x="557" y="4640"/>
                      <a:pt x="565" y="4625"/>
                      <a:pt x="453" y="4551"/>
                    </a:cubicBezTo>
                    <a:cubicBezTo>
                      <a:pt x="401" y="4507"/>
                      <a:pt x="364" y="4700"/>
                      <a:pt x="15" y="4789"/>
                    </a:cubicBezTo>
                    <a:cubicBezTo>
                      <a:pt x="0" y="4425"/>
                      <a:pt x="104" y="4395"/>
                      <a:pt x="104" y="4247"/>
                    </a:cubicBezTo>
                    <a:cubicBezTo>
                      <a:pt x="253" y="3846"/>
                      <a:pt x="357" y="4106"/>
                      <a:pt x="446" y="3913"/>
                    </a:cubicBezTo>
                    <a:lnTo>
                      <a:pt x="520" y="3705"/>
                    </a:lnTo>
                    <a:cubicBezTo>
                      <a:pt x="646" y="3586"/>
                      <a:pt x="787" y="3601"/>
                      <a:pt x="824" y="3601"/>
                    </a:cubicBezTo>
                    <a:cubicBezTo>
                      <a:pt x="958" y="3601"/>
                      <a:pt x="1084" y="3594"/>
                      <a:pt x="1159" y="3527"/>
                    </a:cubicBezTo>
                    <a:cubicBezTo>
                      <a:pt x="1292" y="3408"/>
                      <a:pt x="1300" y="3594"/>
                      <a:pt x="1359" y="3594"/>
                    </a:cubicBezTo>
                    <a:cubicBezTo>
                      <a:pt x="1448" y="3594"/>
                      <a:pt x="1455" y="3489"/>
                      <a:pt x="1508" y="3423"/>
                    </a:cubicBezTo>
                    <a:cubicBezTo>
                      <a:pt x="1574" y="3333"/>
                      <a:pt x="1753" y="3378"/>
                      <a:pt x="1775" y="3378"/>
                    </a:cubicBezTo>
                    <a:lnTo>
                      <a:pt x="2220" y="3378"/>
                    </a:lnTo>
                    <a:cubicBezTo>
                      <a:pt x="2391" y="3378"/>
                      <a:pt x="2406" y="3482"/>
                      <a:pt x="2569" y="3482"/>
                    </a:cubicBezTo>
                    <a:cubicBezTo>
                      <a:pt x="2814" y="3482"/>
                      <a:pt x="2792" y="3296"/>
                      <a:pt x="2925" y="3267"/>
                    </a:cubicBezTo>
                    <a:cubicBezTo>
                      <a:pt x="3185" y="3207"/>
                      <a:pt x="3052" y="2999"/>
                      <a:pt x="3052" y="2985"/>
                    </a:cubicBezTo>
                    <a:cubicBezTo>
                      <a:pt x="3052" y="2896"/>
                      <a:pt x="3148" y="2821"/>
                      <a:pt x="3104" y="2710"/>
                    </a:cubicBezTo>
                    <a:cubicBezTo>
                      <a:pt x="3081" y="2650"/>
                      <a:pt x="2844" y="2747"/>
                      <a:pt x="2903" y="2569"/>
                    </a:cubicBezTo>
                    <a:cubicBezTo>
                      <a:pt x="3000" y="2450"/>
                      <a:pt x="3163" y="2413"/>
                      <a:pt x="3185" y="2198"/>
                    </a:cubicBezTo>
                    <a:cubicBezTo>
                      <a:pt x="3215" y="1923"/>
                      <a:pt x="3000" y="1923"/>
                      <a:pt x="3000" y="1811"/>
                    </a:cubicBezTo>
                    <a:cubicBezTo>
                      <a:pt x="3000" y="1700"/>
                      <a:pt x="3141" y="1693"/>
                      <a:pt x="3111" y="1500"/>
                    </a:cubicBezTo>
                    <a:cubicBezTo>
                      <a:pt x="3074" y="1255"/>
                      <a:pt x="3423" y="1426"/>
                      <a:pt x="3475" y="1292"/>
                    </a:cubicBezTo>
                    <a:cubicBezTo>
                      <a:pt x="3527" y="1173"/>
                      <a:pt x="3430" y="1077"/>
                      <a:pt x="3430" y="988"/>
                    </a:cubicBezTo>
                    <a:cubicBezTo>
                      <a:pt x="3430" y="906"/>
                      <a:pt x="3504" y="869"/>
                      <a:pt x="3504" y="817"/>
                    </a:cubicBezTo>
                    <a:cubicBezTo>
                      <a:pt x="3504" y="780"/>
                      <a:pt x="3490" y="691"/>
                      <a:pt x="3467" y="668"/>
                    </a:cubicBezTo>
                    <a:cubicBezTo>
                      <a:pt x="3519" y="602"/>
                      <a:pt x="3512" y="587"/>
                      <a:pt x="3601" y="587"/>
                    </a:cubicBezTo>
                    <a:cubicBezTo>
                      <a:pt x="3645" y="587"/>
                      <a:pt x="3735" y="668"/>
                      <a:pt x="3764" y="587"/>
                    </a:cubicBezTo>
                    <a:lnTo>
                      <a:pt x="3764" y="431"/>
                    </a:lnTo>
                    <a:cubicBezTo>
                      <a:pt x="3764" y="379"/>
                      <a:pt x="3824" y="334"/>
                      <a:pt x="3846" y="334"/>
                    </a:cubicBezTo>
                    <a:cubicBezTo>
                      <a:pt x="3957" y="334"/>
                      <a:pt x="3913" y="513"/>
                      <a:pt x="4098" y="513"/>
                    </a:cubicBezTo>
                    <a:cubicBezTo>
                      <a:pt x="4135" y="520"/>
                      <a:pt x="4173" y="505"/>
                      <a:pt x="4195" y="490"/>
                    </a:cubicBezTo>
                    <a:cubicBezTo>
                      <a:pt x="4195" y="550"/>
                      <a:pt x="4254" y="565"/>
                      <a:pt x="4217" y="661"/>
                    </a:cubicBezTo>
                    <a:cubicBezTo>
                      <a:pt x="4217" y="661"/>
                      <a:pt x="4098" y="862"/>
                      <a:pt x="4403" y="691"/>
                    </a:cubicBezTo>
                    <a:cubicBezTo>
                      <a:pt x="4596" y="490"/>
                      <a:pt x="4573" y="557"/>
                      <a:pt x="4811" y="475"/>
                    </a:cubicBezTo>
                    <a:cubicBezTo>
                      <a:pt x="4871" y="453"/>
                      <a:pt x="4885" y="334"/>
                      <a:pt x="5026" y="334"/>
                    </a:cubicBezTo>
                    <a:cubicBezTo>
                      <a:pt x="5130" y="327"/>
                      <a:pt x="5108" y="275"/>
                      <a:pt x="5205" y="201"/>
                    </a:cubicBezTo>
                    <a:cubicBezTo>
                      <a:pt x="5316" y="119"/>
                      <a:pt x="5450" y="0"/>
                      <a:pt x="5672" y="0"/>
                    </a:cubicBezTo>
                    <a:cubicBezTo>
                      <a:pt x="5813" y="0"/>
                      <a:pt x="5828" y="8"/>
                      <a:pt x="5984" y="45"/>
                    </a:cubicBezTo>
                    <a:cubicBezTo>
                      <a:pt x="6155" y="97"/>
                      <a:pt x="5999" y="253"/>
                      <a:pt x="5999" y="334"/>
                    </a:cubicBezTo>
                    <a:cubicBezTo>
                      <a:pt x="5999" y="394"/>
                      <a:pt x="6155" y="431"/>
                      <a:pt x="6184" y="446"/>
                    </a:cubicBezTo>
                    <a:cubicBezTo>
                      <a:pt x="6385" y="535"/>
                      <a:pt x="6400" y="334"/>
                      <a:pt x="6600" y="371"/>
                    </a:cubicBezTo>
                    <a:cubicBezTo>
                      <a:pt x="6801" y="394"/>
                      <a:pt x="6793" y="446"/>
                      <a:pt x="6897" y="527"/>
                    </a:cubicBezTo>
                    <a:cubicBezTo>
                      <a:pt x="7031" y="631"/>
                      <a:pt x="7276" y="758"/>
                      <a:pt x="7432" y="862"/>
                    </a:cubicBezTo>
                    <a:cubicBezTo>
                      <a:pt x="7848" y="832"/>
                      <a:pt x="7974" y="1084"/>
                      <a:pt x="7974" y="1084"/>
                    </a:cubicBezTo>
                    <a:cubicBezTo>
                      <a:pt x="8115" y="1195"/>
                      <a:pt x="7989" y="1337"/>
                      <a:pt x="8130" y="1396"/>
                    </a:cubicBezTo>
                    <a:cubicBezTo>
                      <a:pt x="8271" y="1463"/>
                      <a:pt x="8352" y="1232"/>
                      <a:pt x="8634" y="1433"/>
                    </a:cubicBezTo>
                    <a:cubicBezTo>
                      <a:pt x="8731" y="1500"/>
                      <a:pt x="8835" y="1388"/>
                      <a:pt x="9117" y="1619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167"/>
              <p:cNvSpPr>
                <a:spLocks/>
              </p:cNvSpPr>
              <p:nvPr/>
            </p:nvSpPr>
            <p:spPr bwMode="auto">
              <a:xfrm>
                <a:off x="6098530" y="3011481"/>
                <a:ext cx="1070242" cy="1176133"/>
              </a:xfrm>
              <a:custGeom>
                <a:avLst/>
                <a:gdLst>
                  <a:gd name="T0" fmla="*/ 422 w 7647"/>
                  <a:gd name="T1" fmla="*/ 672 h 8396"/>
                  <a:gd name="T2" fmla="*/ 407 w 7647"/>
                  <a:gd name="T3" fmla="*/ 606 h 8396"/>
                  <a:gd name="T4" fmla="*/ 448 w 7647"/>
                  <a:gd name="T5" fmla="*/ 563 h 8396"/>
                  <a:gd name="T6" fmla="*/ 403 w 7647"/>
                  <a:gd name="T7" fmla="*/ 522 h 8396"/>
                  <a:gd name="T8" fmla="*/ 347 w 7647"/>
                  <a:gd name="T9" fmla="*/ 492 h 8396"/>
                  <a:gd name="T10" fmla="*/ 255 w 7647"/>
                  <a:gd name="T11" fmla="*/ 445 h 8396"/>
                  <a:gd name="T12" fmla="*/ 195 w 7647"/>
                  <a:gd name="T13" fmla="*/ 438 h 8396"/>
                  <a:gd name="T14" fmla="*/ 178 w 7647"/>
                  <a:gd name="T15" fmla="*/ 404 h 8396"/>
                  <a:gd name="T16" fmla="*/ 112 w 7647"/>
                  <a:gd name="T17" fmla="*/ 417 h 8396"/>
                  <a:gd name="T18" fmla="*/ 79 w 7647"/>
                  <a:gd name="T19" fmla="*/ 441 h 8396"/>
                  <a:gd name="T20" fmla="*/ 28 w 7647"/>
                  <a:gd name="T21" fmla="*/ 456 h 8396"/>
                  <a:gd name="T22" fmla="*/ 37 w 7647"/>
                  <a:gd name="T23" fmla="*/ 430 h 8396"/>
                  <a:gd name="T24" fmla="*/ 13 w 7647"/>
                  <a:gd name="T25" fmla="*/ 361 h 8396"/>
                  <a:gd name="T26" fmla="*/ 20 w 7647"/>
                  <a:gd name="T27" fmla="*/ 308 h 8396"/>
                  <a:gd name="T28" fmla="*/ 18 w 7647"/>
                  <a:gd name="T29" fmla="*/ 286 h 8396"/>
                  <a:gd name="T30" fmla="*/ 12 w 7647"/>
                  <a:gd name="T31" fmla="*/ 245 h 8396"/>
                  <a:gd name="T32" fmla="*/ 18 w 7647"/>
                  <a:gd name="T33" fmla="*/ 214 h 8396"/>
                  <a:gd name="T34" fmla="*/ 0 w 7647"/>
                  <a:gd name="T35" fmla="*/ 181 h 8396"/>
                  <a:gd name="T36" fmla="*/ 21 w 7647"/>
                  <a:gd name="T37" fmla="*/ 143 h 8396"/>
                  <a:gd name="T38" fmla="*/ 69 w 7647"/>
                  <a:gd name="T39" fmla="*/ 111 h 8396"/>
                  <a:gd name="T40" fmla="*/ 116 w 7647"/>
                  <a:gd name="T41" fmla="*/ 151 h 8396"/>
                  <a:gd name="T42" fmla="*/ 206 w 7647"/>
                  <a:gd name="T43" fmla="*/ 96 h 8396"/>
                  <a:gd name="T44" fmla="*/ 198 w 7647"/>
                  <a:gd name="T45" fmla="*/ 53 h 8396"/>
                  <a:gd name="T46" fmla="*/ 224 w 7647"/>
                  <a:gd name="T47" fmla="*/ 45 h 8396"/>
                  <a:gd name="T48" fmla="*/ 255 w 7647"/>
                  <a:gd name="T49" fmla="*/ 52 h 8396"/>
                  <a:gd name="T50" fmla="*/ 326 w 7647"/>
                  <a:gd name="T51" fmla="*/ 43 h 8396"/>
                  <a:gd name="T52" fmla="*/ 368 w 7647"/>
                  <a:gd name="T53" fmla="*/ 19 h 8396"/>
                  <a:gd name="T54" fmla="*/ 417 w 7647"/>
                  <a:gd name="T55" fmla="*/ 40 h 8396"/>
                  <a:gd name="T56" fmla="*/ 430 w 7647"/>
                  <a:gd name="T57" fmla="*/ 64 h 8396"/>
                  <a:gd name="T58" fmla="*/ 465 w 7647"/>
                  <a:gd name="T59" fmla="*/ 39 h 8396"/>
                  <a:gd name="T60" fmla="*/ 518 w 7647"/>
                  <a:gd name="T61" fmla="*/ 2 h 8396"/>
                  <a:gd name="T62" fmla="*/ 570 w 7647"/>
                  <a:gd name="T63" fmla="*/ 35 h 8396"/>
                  <a:gd name="T64" fmla="*/ 584 w 7647"/>
                  <a:gd name="T65" fmla="*/ 40 h 8396"/>
                  <a:gd name="T66" fmla="*/ 610 w 7647"/>
                  <a:gd name="T67" fmla="*/ 76 h 8396"/>
                  <a:gd name="T68" fmla="*/ 627 w 7647"/>
                  <a:gd name="T69" fmla="*/ 138 h 8396"/>
                  <a:gd name="T70" fmla="*/ 592 w 7647"/>
                  <a:gd name="T71" fmla="*/ 167 h 8396"/>
                  <a:gd name="T72" fmla="*/ 610 w 7647"/>
                  <a:gd name="T73" fmla="*/ 198 h 8396"/>
                  <a:gd name="T74" fmla="*/ 614 w 7647"/>
                  <a:gd name="T75" fmla="*/ 218 h 8396"/>
                  <a:gd name="T76" fmla="*/ 648 w 7647"/>
                  <a:gd name="T77" fmla="*/ 229 h 8396"/>
                  <a:gd name="T78" fmla="*/ 561 w 7647"/>
                  <a:gd name="T79" fmla="*/ 334 h 8396"/>
                  <a:gd name="T80" fmla="*/ 547 w 7647"/>
                  <a:gd name="T81" fmla="*/ 310 h 8396"/>
                  <a:gd name="T82" fmla="*/ 535 w 7647"/>
                  <a:gd name="T83" fmla="*/ 346 h 8396"/>
                  <a:gd name="T84" fmla="*/ 525 w 7647"/>
                  <a:gd name="T85" fmla="*/ 385 h 8396"/>
                  <a:gd name="T86" fmla="*/ 524 w 7647"/>
                  <a:gd name="T87" fmla="*/ 422 h 8396"/>
                  <a:gd name="T88" fmla="*/ 522 w 7647"/>
                  <a:gd name="T89" fmla="*/ 512 h 8396"/>
                  <a:gd name="T90" fmla="*/ 492 w 7647"/>
                  <a:gd name="T91" fmla="*/ 647 h 8396"/>
                  <a:gd name="T92" fmla="*/ 476 w 7647"/>
                  <a:gd name="T93" fmla="*/ 691 h 8396"/>
                  <a:gd name="T94" fmla="*/ 422 w 7647"/>
                  <a:gd name="T95" fmla="*/ 684 h 839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647" h="8396">
                    <a:moveTo>
                      <a:pt x="4981" y="8062"/>
                    </a:moveTo>
                    <a:cubicBezTo>
                      <a:pt x="4996" y="7973"/>
                      <a:pt x="5026" y="8003"/>
                      <a:pt x="4981" y="7921"/>
                    </a:cubicBezTo>
                    <a:cubicBezTo>
                      <a:pt x="4915" y="7810"/>
                      <a:pt x="4826" y="7750"/>
                      <a:pt x="4781" y="7609"/>
                    </a:cubicBezTo>
                    <a:cubicBezTo>
                      <a:pt x="4736" y="7542"/>
                      <a:pt x="4603" y="7468"/>
                      <a:pt x="4803" y="7142"/>
                    </a:cubicBezTo>
                    <a:cubicBezTo>
                      <a:pt x="4855" y="7067"/>
                      <a:pt x="5019" y="7193"/>
                      <a:pt x="5019" y="6919"/>
                    </a:cubicBezTo>
                    <a:cubicBezTo>
                      <a:pt x="5019" y="6822"/>
                      <a:pt x="5175" y="6703"/>
                      <a:pt x="5286" y="6644"/>
                    </a:cubicBezTo>
                    <a:cubicBezTo>
                      <a:pt x="5412" y="6562"/>
                      <a:pt x="5360" y="6399"/>
                      <a:pt x="5234" y="6340"/>
                    </a:cubicBezTo>
                    <a:cubicBezTo>
                      <a:pt x="4952" y="6110"/>
                      <a:pt x="4848" y="6221"/>
                      <a:pt x="4751" y="6154"/>
                    </a:cubicBezTo>
                    <a:cubicBezTo>
                      <a:pt x="4469" y="5954"/>
                      <a:pt x="4388" y="6184"/>
                      <a:pt x="4247" y="6117"/>
                    </a:cubicBezTo>
                    <a:cubicBezTo>
                      <a:pt x="4106" y="6057"/>
                      <a:pt x="4232" y="5916"/>
                      <a:pt x="4091" y="5805"/>
                    </a:cubicBezTo>
                    <a:cubicBezTo>
                      <a:pt x="4091" y="5805"/>
                      <a:pt x="3964" y="5553"/>
                      <a:pt x="3549" y="5583"/>
                    </a:cubicBezTo>
                    <a:cubicBezTo>
                      <a:pt x="3393" y="5478"/>
                      <a:pt x="3148" y="5352"/>
                      <a:pt x="3014" y="5248"/>
                    </a:cubicBezTo>
                    <a:cubicBezTo>
                      <a:pt x="2910" y="5166"/>
                      <a:pt x="2918" y="5115"/>
                      <a:pt x="2717" y="5092"/>
                    </a:cubicBezTo>
                    <a:cubicBezTo>
                      <a:pt x="2517" y="5055"/>
                      <a:pt x="2502" y="5256"/>
                      <a:pt x="2301" y="5166"/>
                    </a:cubicBezTo>
                    <a:cubicBezTo>
                      <a:pt x="2272" y="5152"/>
                      <a:pt x="2116" y="5115"/>
                      <a:pt x="2116" y="5055"/>
                    </a:cubicBezTo>
                    <a:cubicBezTo>
                      <a:pt x="2116" y="4974"/>
                      <a:pt x="2272" y="4818"/>
                      <a:pt x="2101" y="4766"/>
                    </a:cubicBezTo>
                    <a:cubicBezTo>
                      <a:pt x="1945" y="4729"/>
                      <a:pt x="1930" y="4721"/>
                      <a:pt x="1789" y="4721"/>
                    </a:cubicBezTo>
                    <a:cubicBezTo>
                      <a:pt x="1566" y="4721"/>
                      <a:pt x="1433" y="4840"/>
                      <a:pt x="1321" y="4922"/>
                    </a:cubicBezTo>
                    <a:cubicBezTo>
                      <a:pt x="1225" y="4996"/>
                      <a:pt x="1247" y="5048"/>
                      <a:pt x="1143" y="5055"/>
                    </a:cubicBezTo>
                    <a:cubicBezTo>
                      <a:pt x="1002" y="5055"/>
                      <a:pt x="988" y="5174"/>
                      <a:pt x="928" y="5196"/>
                    </a:cubicBezTo>
                    <a:cubicBezTo>
                      <a:pt x="691" y="5278"/>
                      <a:pt x="713" y="5211"/>
                      <a:pt x="520" y="5412"/>
                    </a:cubicBezTo>
                    <a:cubicBezTo>
                      <a:pt x="215" y="5583"/>
                      <a:pt x="334" y="5382"/>
                      <a:pt x="334" y="5382"/>
                    </a:cubicBezTo>
                    <a:cubicBezTo>
                      <a:pt x="371" y="5285"/>
                      <a:pt x="312" y="5271"/>
                      <a:pt x="312" y="5211"/>
                    </a:cubicBezTo>
                    <a:cubicBezTo>
                      <a:pt x="379" y="5174"/>
                      <a:pt x="431" y="5107"/>
                      <a:pt x="431" y="5070"/>
                    </a:cubicBezTo>
                    <a:cubicBezTo>
                      <a:pt x="445" y="5026"/>
                      <a:pt x="416" y="4907"/>
                      <a:pt x="416" y="4803"/>
                    </a:cubicBezTo>
                    <a:cubicBezTo>
                      <a:pt x="416" y="4565"/>
                      <a:pt x="171" y="4766"/>
                      <a:pt x="156" y="4254"/>
                    </a:cubicBezTo>
                    <a:cubicBezTo>
                      <a:pt x="141" y="3919"/>
                      <a:pt x="408" y="3890"/>
                      <a:pt x="297" y="3786"/>
                    </a:cubicBezTo>
                    <a:cubicBezTo>
                      <a:pt x="238" y="3756"/>
                      <a:pt x="238" y="3719"/>
                      <a:pt x="238" y="3637"/>
                    </a:cubicBezTo>
                    <a:cubicBezTo>
                      <a:pt x="238" y="3585"/>
                      <a:pt x="334" y="3585"/>
                      <a:pt x="334" y="3548"/>
                    </a:cubicBezTo>
                    <a:cubicBezTo>
                      <a:pt x="334" y="3467"/>
                      <a:pt x="215" y="3452"/>
                      <a:pt x="215" y="3370"/>
                    </a:cubicBezTo>
                    <a:cubicBezTo>
                      <a:pt x="215" y="3288"/>
                      <a:pt x="297" y="3311"/>
                      <a:pt x="297" y="3214"/>
                    </a:cubicBezTo>
                    <a:cubicBezTo>
                      <a:pt x="297" y="3110"/>
                      <a:pt x="126" y="3192"/>
                      <a:pt x="141" y="2888"/>
                    </a:cubicBezTo>
                    <a:cubicBezTo>
                      <a:pt x="149" y="2739"/>
                      <a:pt x="267" y="2821"/>
                      <a:pt x="312" y="2673"/>
                    </a:cubicBezTo>
                    <a:cubicBezTo>
                      <a:pt x="393" y="2568"/>
                      <a:pt x="201" y="2583"/>
                      <a:pt x="215" y="2524"/>
                    </a:cubicBezTo>
                    <a:cubicBezTo>
                      <a:pt x="208" y="2479"/>
                      <a:pt x="386" y="2494"/>
                      <a:pt x="356" y="2413"/>
                    </a:cubicBezTo>
                    <a:cubicBezTo>
                      <a:pt x="305" y="2212"/>
                      <a:pt x="0" y="2368"/>
                      <a:pt x="0" y="2138"/>
                    </a:cubicBezTo>
                    <a:cubicBezTo>
                      <a:pt x="0" y="1960"/>
                      <a:pt x="97" y="1908"/>
                      <a:pt x="193" y="1834"/>
                    </a:cubicBezTo>
                    <a:cubicBezTo>
                      <a:pt x="275" y="1759"/>
                      <a:pt x="238" y="1722"/>
                      <a:pt x="245" y="1685"/>
                    </a:cubicBezTo>
                    <a:cubicBezTo>
                      <a:pt x="267" y="1596"/>
                      <a:pt x="586" y="1492"/>
                      <a:pt x="691" y="1299"/>
                    </a:cubicBezTo>
                    <a:cubicBezTo>
                      <a:pt x="728" y="1299"/>
                      <a:pt x="765" y="1299"/>
                      <a:pt x="817" y="1314"/>
                    </a:cubicBezTo>
                    <a:cubicBezTo>
                      <a:pt x="988" y="1388"/>
                      <a:pt x="861" y="1544"/>
                      <a:pt x="995" y="1633"/>
                    </a:cubicBezTo>
                    <a:cubicBezTo>
                      <a:pt x="1121" y="1782"/>
                      <a:pt x="1240" y="1782"/>
                      <a:pt x="1374" y="1782"/>
                    </a:cubicBezTo>
                    <a:cubicBezTo>
                      <a:pt x="1648" y="1782"/>
                      <a:pt x="1566" y="1537"/>
                      <a:pt x="1923" y="1603"/>
                    </a:cubicBezTo>
                    <a:cubicBezTo>
                      <a:pt x="2108" y="1633"/>
                      <a:pt x="2331" y="1329"/>
                      <a:pt x="2428" y="1136"/>
                    </a:cubicBezTo>
                    <a:cubicBezTo>
                      <a:pt x="2442" y="1084"/>
                      <a:pt x="2413" y="846"/>
                      <a:pt x="2413" y="779"/>
                    </a:cubicBezTo>
                    <a:cubicBezTo>
                      <a:pt x="2368" y="742"/>
                      <a:pt x="2331" y="668"/>
                      <a:pt x="2331" y="623"/>
                    </a:cubicBezTo>
                    <a:cubicBezTo>
                      <a:pt x="2331" y="586"/>
                      <a:pt x="2435" y="586"/>
                      <a:pt x="2487" y="586"/>
                    </a:cubicBezTo>
                    <a:cubicBezTo>
                      <a:pt x="2584" y="586"/>
                      <a:pt x="2569" y="549"/>
                      <a:pt x="2643" y="527"/>
                    </a:cubicBezTo>
                    <a:cubicBezTo>
                      <a:pt x="2680" y="497"/>
                      <a:pt x="2762" y="609"/>
                      <a:pt x="2829" y="609"/>
                    </a:cubicBezTo>
                    <a:cubicBezTo>
                      <a:pt x="2895" y="609"/>
                      <a:pt x="2977" y="564"/>
                      <a:pt x="3014" y="609"/>
                    </a:cubicBezTo>
                    <a:cubicBezTo>
                      <a:pt x="3103" y="698"/>
                      <a:pt x="3111" y="727"/>
                      <a:pt x="3274" y="727"/>
                    </a:cubicBezTo>
                    <a:cubicBezTo>
                      <a:pt x="3512" y="727"/>
                      <a:pt x="3660" y="512"/>
                      <a:pt x="3853" y="512"/>
                    </a:cubicBezTo>
                    <a:cubicBezTo>
                      <a:pt x="3950" y="512"/>
                      <a:pt x="4091" y="505"/>
                      <a:pt x="4120" y="364"/>
                    </a:cubicBezTo>
                    <a:cubicBezTo>
                      <a:pt x="4135" y="267"/>
                      <a:pt x="4321" y="282"/>
                      <a:pt x="4343" y="223"/>
                    </a:cubicBezTo>
                    <a:cubicBezTo>
                      <a:pt x="4380" y="118"/>
                      <a:pt x="4447" y="74"/>
                      <a:pt x="4506" y="37"/>
                    </a:cubicBezTo>
                    <a:cubicBezTo>
                      <a:pt x="5093" y="193"/>
                      <a:pt x="4670" y="408"/>
                      <a:pt x="4922" y="475"/>
                    </a:cubicBezTo>
                    <a:cubicBezTo>
                      <a:pt x="4989" y="490"/>
                      <a:pt x="4989" y="683"/>
                      <a:pt x="4989" y="705"/>
                    </a:cubicBezTo>
                    <a:cubicBezTo>
                      <a:pt x="4989" y="720"/>
                      <a:pt x="5019" y="735"/>
                      <a:pt x="5078" y="757"/>
                    </a:cubicBezTo>
                    <a:cubicBezTo>
                      <a:pt x="5115" y="765"/>
                      <a:pt x="5130" y="653"/>
                      <a:pt x="5212" y="675"/>
                    </a:cubicBezTo>
                    <a:cubicBezTo>
                      <a:pt x="5397" y="705"/>
                      <a:pt x="5204" y="423"/>
                      <a:pt x="5486" y="460"/>
                    </a:cubicBezTo>
                    <a:cubicBezTo>
                      <a:pt x="5716" y="490"/>
                      <a:pt x="5650" y="215"/>
                      <a:pt x="5783" y="237"/>
                    </a:cubicBezTo>
                    <a:cubicBezTo>
                      <a:pt x="5909" y="252"/>
                      <a:pt x="5716" y="74"/>
                      <a:pt x="6117" y="22"/>
                    </a:cubicBezTo>
                    <a:cubicBezTo>
                      <a:pt x="6258" y="0"/>
                      <a:pt x="6199" y="252"/>
                      <a:pt x="6630" y="274"/>
                    </a:cubicBezTo>
                    <a:cubicBezTo>
                      <a:pt x="6704" y="274"/>
                      <a:pt x="6644" y="408"/>
                      <a:pt x="6726" y="408"/>
                    </a:cubicBezTo>
                    <a:cubicBezTo>
                      <a:pt x="6800" y="408"/>
                      <a:pt x="6785" y="274"/>
                      <a:pt x="6860" y="334"/>
                    </a:cubicBezTo>
                    <a:lnTo>
                      <a:pt x="6897" y="467"/>
                    </a:lnTo>
                    <a:cubicBezTo>
                      <a:pt x="7075" y="490"/>
                      <a:pt x="7023" y="549"/>
                      <a:pt x="7023" y="683"/>
                    </a:cubicBezTo>
                    <a:cubicBezTo>
                      <a:pt x="7023" y="787"/>
                      <a:pt x="7164" y="846"/>
                      <a:pt x="7194" y="891"/>
                    </a:cubicBezTo>
                    <a:cubicBezTo>
                      <a:pt x="7268" y="995"/>
                      <a:pt x="7216" y="1039"/>
                      <a:pt x="7238" y="1173"/>
                    </a:cubicBezTo>
                    <a:cubicBezTo>
                      <a:pt x="7261" y="1277"/>
                      <a:pt x="7469" y="1447"/>
                      <a:pt x="7394" y="1633"/>
                    </a:cubicBezTo>
                    <a:cubicBezTo>
                      <a:pt x="7342" y="1737"/>
                      <a:pt x="7469" y="2093"/>
                      <a:pt x="7216" y="1989"/>
                    </a:cubicBezTo>
                    <a:cubicBezTo>
                      <a:pt x="7090" y="1937"/>
                      <a:pt x="7097" y="1908"/>
                      <a:pt x="6986" y="1975"/>
                    </a:cubicBezTo>
                    <a:cubicBezTo>
                      <a:pt x="6949" y="2049"/>
                      <a:pt x="7038" y="2175"/>
                      <a:pt x="7038" y="2175"/>
                    </a:cubicBezTo>
                    <a:cubicBezTo>
                      <a:pt x="7097" y="2279"/>
                      <a:pt x="7105" y="2294"/>
                      <a:pt x="7194" y="2331"/>
                    </a:cubicBezTo>
                    <a:cubicBezTo>
                      <a:pt x="7231" y="2427"/>
                      <a:pt x="7097" y="2413"/>
                      <a:pt x="7149" y="2546"/>
                    </a:cubicBezTo>
                    <a:cubicBezTo>
                      <a:pt x="7157" y="2576"/>
                      <a:pt x="7224" y="2568"/>
                      <a:pt x="7246" y="2568"/>
                    </a:cubicBezTo>
                    <a:cubicBezTo>
                      <a:pt x="7320" y="2583"/>
                      <a:pt x="7298" y="2673"/>
                      <a:pt x="7357" y="2702"/>
                    </a:cubicBezTo>
                    <a:cubicBezTo>
                      <a:pt x="7431" y="2739"/>
                      <a:pt x="7647" y="2695"/>
                      <a:pt x="7647" y="2695"/>
                    </a:cubicBezTo>
                    <a:cubicBezTo>
                      <a:pt x="7543" y="2962"/>
                      <a:pt x="7409" y="3192"/>
                      <a:pt x="7238" y="3393"/>
                    </a:cubicBezTo>
                    <a:cubicBezTo>
                      <a:pt x="7060" y="3608"/>
                      <a:pt x="6756" y="4142"/>
                      <a:pt x="6622" y="3942"/>
                    </a:cubicBezTo>
                    <a:cubicBezTo>
                      <a:pt x="6541" y="3823"/>
                      <a:pt x="6644" y="3778"/>
                      <a:pt x="6555" y="3667"/>
                    </a:cubicBezTo>
                    <a:cubicBezTo>
                      <a:pt x="6541" y="3645"/>
                      <a:pt x="6503" y="3667"/>
                      <a:pt x="6452" y="3652"/>
                    </a:cubicBezTo>
                    <a:cubicBezTo>
                      <a:pt x="6407" y="3645"/>
                      <a:pt x="6251" y="3749"/>
                      <a:pt x="6481" y="3890"/>
                    </a:cubicBezTo>
                    <a:cubicBezTo>
                      <a:pt x="6607" y="3964"/>
                      <a:pt x="6333" y="4150"/>
                      <a:pt x="6310" y="4083"/>
                    </a:cubicBezTo>
                    <a:cubicBezTo>
                      <a:pt x="6310" y="4068"/>
                      <a:pt x="6236" y="4179"/>
                      <a:pt x="6251" y="4246"/>
                    </a:cubicBezTo>
                    <a:cubicBezTo>
                      <a:pt x="6333" y="4476"/>
                      <a:pt x="6281" y="4588"/>
                      <a:pt x="6199" y="4543"/>
                    </a:cubicBezTo>
                    <a:cubicBezTo>
                      <a:pt x="6184" y="4536"/>
                      <a:pt x="6140" y="4662"/>
                      <a:pt x="6214" y="4714"/>
                    </a:cubicBezTo>
                    <a:cubicBezTo>
                      <a:pt x="6310" y="4773"/>
                      <a:pt x="6221" y="4877"/>
                      <a:pt x="6184" y="4974"/>
                    </a:cubicBezTo>
                    <a:cubicBezTo>
                      <a:pt x="6117" y="5152"/>
                      <a:pt x="6050" y="5308"/>
                      <a:pt x="6103" y="5805"/>
                    </a:cubicBezTo>
                    <a:cubicBezTo>
                      <a:pt x="6117" y="5939"/>
                      <a:pt x="6162" y="5939"/>
                      <a:pt x="6162" y="6043"/>
                    </a:cubicBezTo>
                    <a:cubicBezTo>
                      <a:pt x="6162" y="6132"/>
                      <a:pt x="6140" y="6251"/>
                      <a:pt x="6184" y="6310"/>
                    </a:cubicBezTo>
                    <a:cubicBezTo>
                      <a:pt x="6088" y="6807"/>
                      <a:pt x="5872" y="7112"/>
                      <a:pt x="5806" y="7624"/>
                    </a:cubicBezTo>
                    <a:cubicBezTo>
                      <a:pt x="5783" y="7817"/>
                      <a:pt x="5880" y="7869"/>
                      <a:pt x="5828" y="7973"/>
                    </a:cubicBezTo>
                    <a:cubicBezTo>
                      <a:pt x="5798" y="8040"/>
                      <a:pt x="5664" y="8107"/>
                      <a:pt x="5612" y="8144"/>
                    </a:cubicBezTo>
                    <a:cubicBezTo>
                      <a:pt x="5546" y="8196"/>
                      <a:pt x="5464" y="8270"/>
                      <a:pt x="5412" y="8396"/>
                    </a:cubicBezTo>
                    <a:cubicBezTo>
                      <a:pt x="5219" y="8322"/>
                      <a:pt x="5160" y="8181"/>
                      <a:pt x="4981" y="8062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172"/>
              <p:cNvSpPr>
                <a:spLocks/>
              </p:cNvSpPr>
              <p:nvPr/>
            </p:nvSpPr>
            <p:spPr bwMode="auto">
              <a:xfrm>
                <a:off x="6729444" y="2861161"/>
                <a:ext cx="769649" cy="275863"/>
              </a:xfrm>
              <a:custGeom>
                <a:avLst/>
                <a:gdLst>
                  <a:gd name="T0" fmla="*/ 465 w 5494"/>
                  <a:gd name="T1" fmla="*/ 43 h 1975"/>
                  <a:gd name="T2" fmla="*/ 419 w 5494"/>
                  <a:gd name="T3" fmla="*/ 33 h 1975"/>
                  <a:gd name="T4" fmla="*/ 412 w 5494"/>
                  <a:gd name="T5" fmla="*/ 46 h 1975"/>
                  <a:gd name="T6" fmla="*/ 392 w 5494"/>
                  <a:gd name="T7" fmla="*/ 53 h 1975"/>
                  <a:gd name="T8" fmla="*/ 356 w 5494"/>
                  <a:gd name="T9" fmla="*/ 53 h 1975"/>
                  <a:gd name="T10" fmla="*/ 335 w 5494"/>
                  <a:gd name="T11" fmla="*/ 68 h 1975"/>
                  <a:gd name="T12" fmla="*/ 312 w 5494"/>
                  <a:gd name="T13" fmla="*/ 82 h 1975"/>
                  <a:gd name="T14" fmla="*/ 298 w 5494"/>
                  <a:gd name="T15" fmla="*/ 64 h 1975"/>
                  <a:gd name="T16" fmla="*/ 290 w 5494"/>
                  <a:gd name="T17" fmla="*/ 58 h 1975"/>
                  <a:gd name="T18" fmla="*/ 309 w 5494"/>
                  <a:gd name="T19" fmla="*/ 23 h 1975"/>
                  <a:gd name="T20" fmla="*/ 283 w 5494"/>
                  <a:gd name="T21" fmla="*/ 13 h 1975"/>
                  <a:gd name="T22" fmla="*/ 240 w 5494"/>
                  <a:gd name="T23" fmla="*/ 42 h 1975"/>
                  <a:gd name="T24" fmla="*/ 222 w 5494"/>
                  <a:gd name="T25" fmla="*/ 46 h 1975"/>
                  <a:gd name="T26" fmla="*/ 210 w 5494"/>
                  <a:gd name="T27" fmla="*/ 39 h 1975"/>
                  <a:gd name="T28" fmla="*/ 185 w 5494"/>
                  <a:gd name="T29" fmla="*/ 31 h 1975"/>
                  <a:gd name="T30" fmla="*/ 160 w 5494"/>
                  <a:gd name="T31" fmla="*/ 40 h 1975"/>
                  <a:gd name="T32" fmla="*/ 142 w 5494"/>
                  <a:gd name="T33" fmla="*/ 21 h 1975"/>
                  <a:gd name="T34" fmla="*/ 98 w 5494"/>
                  <a:gd name="T35" fmla="*/ 6 h 1975"/>
                  <a:gd name="T36" fmla="*/ 79 w 5494"/>
                  <a:gd name="T37" fmla="*/ 5 h 1975"/>
                  <a:gd name="T38" fmla="*/ 53 w 5494"/>
                  <a:gd name="T39" fmla="*/ 3 h 1975"/>
                  <a:gd name="T40" fmla="*/ 47 w 5494"/>
                  <a:gd name="T41" fmla="*/ 22 h 1975"/>
                  <a:gd name="T42" fmla="*/ 55 w 5494"/>
                  <a:gd name="T43" fmla="*/ 55 h 1975"/>
                  <a:gd name="T44" fmla="*/ 15 w 5494"/>
                  <a:gd name="T45" fmla="*/ 82 h 1975"/>
                  <a:gd name="T46" fmla="*/ 0 w 5494"/>
                  <a:gd name="T47" fmla="*/ 94 h 1975"/>
                  <a:gd name="T48" fmla="*/ 35 w 5494"/>
                  <a:gd name="T49" fmla="*/ 131 h 1975"/>
                  <a:gd name="T50" fmla="*/ 41 w 5494"/>
                  <a:gd name="T51" fmla="*/ 151 h 1975"/>
                  <a:gd name="T52" fmla="*/ 49 w 5494"/>
                  <a:gd name="T53" fmla="*/ 155 h 1975"/>
                  <a:gd name="T54" fmla="*/ 60 w 5494"/>
                  <a:gd name="T55" fmla="*/ 148 h 1975"/>
                  <a:gd name="T56" fmla="*/ 83 w 5494"/>
                  <a:gd name="T57" fmla="*/ 130 h 1975"/>
                  <a:gd name="T58" fmla="*/ 108 w 5494"/>
                  <a:gd name="T59" fmla="*/ 111 h 1975"/>
                  <a:gd name="T60" fmla="*/ 137 w 5494"/>
                  <a:gd name="T61" fmla="*/ 93 h 1975"/>
                  <a:gd name="T62" fmla="*/ 180 w 5494"/>
                  <a:gd name="T63" fmla="*/ 114 h 1975"/>
                  <a:gd name="T64" fmla="*/ 188 w 5494"/>
                  <a:gd name="T65" fmla="*/ 126 h 1975"/>
                  <a:gd name="T66" fmla="*/ 200 w 5494"/>
                  <a:gd name="T67" fmla="*/ 119 h 1975"/>
                  <a:gd name="T68" fmla="*/ 203 w 5494"/>
                  <a:gd name="T69" fmla="*/ 131 h 1975"/>
                  <a:gd name="T70" fmla="*/ 213 w 5494"/>
                  <a:gd name="T71" fmla="*/ 149 h 1975"/>
                  <a:gd name="T72" fmla="*/ 219 w 5494"/>
                  <a:gd name="T73" fmla="*/ 149 h 1975"/>
                  <a:gd name="T74" fmla="*/ 245 w 5494"/>
                  <a:gd name="T75" fmla="*/ 134 h 1975"/>
                  <a:gd name="T76" fmla="*/ 261 w 5494"/>
                  <a:gd name="T77" fmla="*/ 136 h 1975"/>
                  <a:gd name="T78" fmla="*/ 308 w 5494"/>
                  <a:gd name="T79" fmla="*/ 161 h 1975"/>
                  <a:gd name="T80" fmla="*/ 320 w 5494"/>
                  <a:gd name="T81" fmla="*/ 158 h 1975"/>
                  <a:gd name="T82" fmla="*/ 338 w 5494"/>
                  <a:gd name="T83" fmla="*/ 160 h 1975"/>
                  <a:gd name="T84" fmla="*/ 360 w 5494"/>
                  <a:gd name="T85" fmla="*/ 145 h 1975"/>
                  <a:gd name="T86" fmla="*/ 395 w 5494"/>
                  <a:gd name="T87" fmla="*/ 134 h 1975"/>
                  <a:gd name="T88" fmla="*/ 414 w 5494"/>
                  <a:gd name="T89" fmla="*/ 131 h 1975"/>
                  <a:gd name="T90" fmla="*/ 441 w 5494"/>
                  <a:gd name="T91" fmla="*/ 143 h 1975"/>
                  <a:gd name="T92" fmla="*/ 464 w 5494"/>
                  <a:gd name="T93" fmla="*/ 96 h 1975"/>
                  <a:gd name="T94" fmla="*/ 466 w 5494"/>
                  <a:gd name="T95" fmla="*/ 51 h 1975"/>
                  <a:gd name="T96" fmla="*/ 465 w 5494"/>
                  <a:gd name="T97" fmla="*/ 43 h 197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494" h="1975">
                    <a:moveTo>
                      <a:pt x="5479" y="505"/>
                    </a:moveTo>
                    <a:cubicBezTo>
                      <a:pt x="5375" y="498"/>
                      <a:pt x="5279" y="216"/>
                      <a:pt x="4937" y="386"/>
                    </a:cubicBezTo>
                    <a:cubicBezTo>
                      <a:pt x="4885" y="416"/>
                      <a:pt x="4908" y="498"/>
                      <a:pt x="4863" y="542"/>
                    </a:cubicBezTo>
                    <a:cubicBezTo>
                      <a:pt x="4766" y="565"/>
                      <a:pt x="4685" y="557"/>
                      <a:pt x="4618" y="624"/>
                    </a:cubicBezTo>
                    <a:cubicBezTo>
                      <a:pt x="4529" y="676"/>
                      <a:pt x="4195" y="624"/>
                      <a:pt x="4195" y="624"/>
                    </a:cubicBezTo>
                    <a:cubicBezTo>
                      <a:pt x="4143" y="720"/>
                      <a:pt x="4024" y="624"/>
                      <a:pt x="3950" y="802"/>
                    </a:cubicBezTo>
                    <a:cubicBezTo>
                      <a:pt x="3898" y="928"/>
                      <a:pt x="3853" y="973"/>
                      <a:pt x="3675" y="973"/>
                    </a:cubicBezTo>
                    <a:cubicBezTo>
                      <a:pt x="3542" y="973"/>
                      <a:pt x="3608" y="787"/>
                      <a:pt x="3519" y="758"/>
                    </a:cubicBezTo>
                    <a:cubicBezTo>
                      <a:pt x="3482" y="750"/>
                      <a:pt x="3400" y="743"/>
                      <a:pt x="3415" y="683"/>
                    </a:cubicBezTo>
                    <a:cubicBezTo>
                      <a:pt x="3482" y="409"/>
                      <a:pt x="3601" y="446"/>
                      <a:pt x="3638" y="275"/>
                    </a:cubicBezTo>
                    <a:cubicBezTo>
                      <a:pt x="3571" y="171"/>
                      <a:pt x="3460" y="67"/>
                      <a:pt x="3341" y="156"/>
                    </a:cubicBezTo>
                    <a:cubicBezTo>
                      <a:pt x="3178" y="312"/>
                      <a:pt x="2888" y="505"/>
                      <a:pt x="2829" y="498"/>
                    </a:cubicBezTo>
                    <a:cubicBezTo>
                      <a:pt x="2710" y="483"/>
                      <a:pt x="2658" y="542"/>
                      <a:pt x="2621" y="542"/>
                    </a:cubicBezTo>
                    <a:cubicBezTo>
                      <a:pt x="2532" y="542"/>
                      <a:pt x="2606" y="446"/>
                      <a:pt x="2472" y="461"/>
                    </a:cubicBezTo>
                    <a:cubicBezTo>
                      <a:pt x="2331" y="475"/>
                      <a:pt x="2294" y="371"/>
                      <a:pt x="2176" y="371"/>
                    </a:cubicBezTo>
                    <a:cubicBezTo>
                      <a:pt x="2064" y="371"/>
                      <a:pt x="1931" y="631"/>
                      <a:pt x="1886" y="475"/>
                    </a:cubicBezTo>
                    <a:cubicBezTo>
                      <a:pt x="1856" y="386"/>
                      <a:pt x="1767" y="386"/>
                      <a:pt x="1678" y="253"/>
                    </a:cubicBezTo>
                    <a:cubicBezTo>
                      <a:pt x="1612" y="141"/>
                      <a:pt x="1300" y="0"/>
                      <a:pt x="1158" y="67"/>
                    </a:cubicBezTo>
                    <a:cubicBezTo>
                      <a:pt x="1062" y="104"/>
                      <a:pt x="1025" y="60"/>
                      <a:pt x="928" y="60"/>
                    </a:cubicBezTo>
                    <a:lnTo>
                      <a:pt x="624" y="37"/>
                    </a:lnTo>
                    <a:cubicBezTo>
                      <a:pt x="535" y="67"/>
                      <a:pt x="550" y="156"/>
                      <a:pt x="550" y="260"/>
                    </a:cubicBezTo>
                    <a:cubicBezTo>
                      <a:pt x="550" y="431"/>
                      <a:pt x="691" y="409"/>
                      <a:pt x="654" y="646"/>
                    </a:cubicBezTo>
                    <a:cubicBezTo>
                      <a:pt x="609" y="876"/>
                      <a:pt x="223" y="906"/>
                      <a:pt x="178" y="973"/>
                    </a:cubicBezTo>
                    <a:cubicBezTo>
                      <a:pt x="134" y="1054"/>
                      <a:pt x="67" y="1077"/>
                      <a:pt x="0" y="1114"/>
                    </a:cubicBezTo>
                    <a:cubicBezTo>
                      <a:pt x="587" y="1270"/>
                      <a:pt x="164" y="1485"/>
                      <a:pt x="416" y="1552"/>
                    </a:cubicBezTo>
                    <a:cubicBezTo>
                      <a:pt x="483" y="1567"/>
                      <a:pt x="483" y="1760"/>
                      <a:pt x="483" y="1782"/>
                    </a:cubicBezTo>
                    <a:cubicBezTo>
                      <a:pt x="483" y="1797"/>
                      <a:pt x="513" y="1812"/>
                      <a:pt x="572" y="1834"/>
                    </a:cubicBezTo>
                    <a:cubicBezTo>
                      <a:pt x="609" y="1842"/>
                      <a:pt x="624" y="1730"/>
                      <a:pt x="706" y="1752"/>
                    </a:cubicBezTo>
                    <a:cubicBezTo>
                      <a:pt x="891" y="1782"/>
                      <a:pt x="698" y="1500"/>
                      <a:pt x="980" y="1537"/>
                    </a:cubicBezTo>
                    <a:cubicBezTo>
                      <a:pt x="1210" y="1567"/>
                      <a:pt x="1144" y="1292"/>
                      <a:pt x="1277" y="1314"/>
                    </a:cubicBezTo>
                    <a:cubicBezTo>
                      <a:pt x="1403" y="1329"/>
                      <a:pt x="1210" y="1151"/>
                      <a:pt x="1612" y="1099"/>
                    </a:cubicBezTo>
                    <a:cubicBezTo>
                      <a:pt x="1752" y="1077"/>
                      <a:pt x="1693" y="1329"/>
                      <a:pt x="2124" y="1351"/>
                    </a:cubicBezTo>
                    <a:cubicBezTo>
                      <a:pt x="2198" y="1351"/>
                      <a:pt x="2138" y="1485"/>
                      <a:pt x="2220" y="1485"/>
                    </a:cubicBezTo>
                    <a:cubicBezTo>
                      <a:pt x="2294" y="1485"/>
                      <a:pt x="2279" y="1351"/>
                      <a:pt x="2354" y="1411"/>
                    </a:cubicBezTo>
                    <a:lnTo>
                      <a:pt x="2391" y="1544"/>
                    </a:lnTo>
                    <a:cubicBezTo>
                      <a:pt x="2569" y="1567"/>
                      <a:pt x="2517" y="1626"/>
                      <a:pt x="2517" y="1760"/>
                    </a:cubicBezTo>
                    <a:lnTo>
                      <a:pt x="2584" y="1760"/>
                    </a:lnTo>
                    <a:cubicBezTo>
                      <a:pt x="2680" y="1760"/>
                      <a:pt x="2792" y="1649"/>
                      <a:pt x="2888" y="1582"/>
                    </a:cubicBezTo>
                    <a:cubicBezTo>
                      <a:pt x="3000" y="1374"/>
                      <a:pt x="3044" y="1619"/>
                      <a:pt x="3081" y="1604"/>
                    </a:cubicBezTo>
                    <a:cubicBezTo>
                      <a:pt x="3296" y="1500"/>
                      <a:pt x="3400" y="1908"/>
                      <a:pt x="3631" y="1908"/>
                    </a:cubicBezTo>
                    <a:cubicBezTo>
                      <a:pt x="3697" y="1908"/>
                      <a:pt x="3734" y="1849"/>
                      <a:pt x="3772" y="1871"/>
                    </a:cubicBezTo>
                    <a:cubicBezTo>
                      <a:pt x="3928" y="1975"/>
                      <a:pt x="3920" y="1908"/>
                      <a:pt x="3980" y="1893"/>
                    </a:cubicBezTo>
                    <a:cubicBezTo>
                      <a:pt x="4158" y="1849"/>
                      <a:pt x="4173" y="1819"/>
                      <a:pt x="4239" y="1715"/>
                    </a:cubicBezTo>
                    <a:cubicBezTo>
                      <a:pt x="4388" y="1507"/>
                      <a:pt x="4662" y="1589"/>
                      <a:pt x="4662" y="1589"/>
                    </a:cubicBezTo>
                    <a:cubicBezTo>
                      <a:pt x="4714" y="1656"/>
                      <a:pt x="4826" y="1552"/>
                      <a:pt x="4878" y="1552"/>
                    </a:cubicBezTo>
                    <a:cubicBezTo>
                      <a:pt x="5004" y="1552"/>
                      <a:pt x="5108" y="1626"/>
                      <a:pt x="5197" y="1686"/>
                    </a:cubicBezTo>
                    <a:cubicBezTo>
                      <a:pt x="5316" y="1507"/>
                      <a:pt x="5442" y="1307"/>
                      <a:pt x="5472" y="1136"/>
                    </a:cubicBezTo>
                    <a:cubicBezTo>
                      <a:pt x="5494" y="995"/>
                      <a:pt x="5487" y="743"/>
                      <a:pt x="5494" y="609"/>
                    </a:cubicBezTo>
                    <a:cubicBezTo>
                      <a:pt x="5494" y="565"/>
                      <a:pt x="5479" y="535"/>
                      <a:pt x="5479" y="505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173"/>
              <p:cNvSpPr>
                <a:spLocks/>
              </p:cNvSpPr>
              <p:nvPr/>
            </p:nvSpPr>
            <p:spPr bwMode="auto">
              <a:xfrm>
                <a:off x="6722838" y="2330910"/>
                <a:ext cx="500437" cy="619452"/>
              </a:xfrm>
              <a:custGeom>
                <a:avLst/>
                <a:gdLst>
                  <a:gd name="T0" fmla="*/ 192 w 3571"/>
                  <a:gd name="T1" fmla="*/ 354 h 4424"/>
                  <a:gd name="T2" fmla="*/ 205 w 3571"/>
                  <a:gd name="T3" fmla="*/ 333 h 4424"/>
                  <a:gd name="T4" fmla="*/ 196 w 3571"/>
                  <a:gd name="T5" fmla="*/ 301 h 4424"/>
                  <a:gd name="T6" fmla="*/ 205 w 3571"/>
                  <a:gd name="T7" fmla="*/ 265 h 4424"/>
                  <a:gd name="T8" fmla="*/ 210 w 3571"/>
                  <a:gd name="T9" fmla="*/ 244 h 4424"/>
                  <a:gd name="T10" fmla="*/ 228 w 3571"/>
                  <a:gd name="T11" fmla="*/ 238 h 4424"/>
                  <a:gd name="T12" fmla="*/ 244 w 3571"/>
                  <a:gd name="T13" fmla="*/ 214 h 4424"/>
                  <a:gd name="T14" fmla="*/ 260 w 3571"/>
                  <a:gd name="T15" fmla="*/ 187 h 4424"/>
                  <a:gd name="T16" fmla="*/ 275 w 3571"/>
                  <a:gd name="T17" fmla="*/ 165 h 4424"/>
                  <a:gd name="T18" fmla="*/ 303 w 3571"/>
                  <a:gd name="T19" fmla="*/ 150 h 4424"/>
                  <a:gd name="T20" fmla="*/ 275 w 3571"/>
                  <a:gd name="T21" fmla="*/ 137 h 4424"/>
                  <a:gd name="T22" fmla="*/ 253 w 3571"/>
                  <a:gd name="T23" fmla="*/ 116 h 4424"/>
                  <a:gd name="T24" fmla="*/ 213 w 3571"/>
                  <a:gd name="T25" fmla="*/ 74 h 4424"/>
                  <a:gd name="T26" fmla="*/ 174 w 3571"/>
                  <a:gd name="T27" fmla="*/ 47 h 4424"/>
                  <a:gd name="T28" fmla="*/ 135 w 3571"/>
                  <a:gd name="T29" fmla="*/ 21 h 4424"/>
                  <a:gd name="T30" fmla="*/ 90 w 3571"/>
                  <a:gd name="T31" fmla="*/ 0 h 4424"/>
                  <a:gd name="T32" fmla="*/ 64 w 3571"/>
                  <a:gd name="T33" fmla="*/ 2 h 4424"/>
                  <a:gd name="T34" fmla="*/ 24 w 3571"/>
                  <a:gd name="T35" fmla="*/ 1 h 4424"/>
                  <a:gd name="T36" fmla="*/ 9 w 3571"/>
                  <a:gd name="T37" fmla="*/ 24 h 4424"/>
                  <a:gd name="T38" fmla="*/ 17 w 3571"/>
                  <a:gd name="T39" fmla="*/ 37 h 4424"/>
                  <a:gd name="T40" fmla="*/ 9 w 3571"/>
                  <a:gd name="T41" fmla="*/ 48 h 4424"/>
                  <a:gd name="T42" fmla="*/ 21 w 3571"/>
                  <a:gd name="T43" fmla="*/ 81 h 4424"/>
                  <a:gd name="T44" fmla="*/ 28 w 3571"/>
                  <a:gd name="T45" fmla="*/ 100 h 4424"/>
                  <a:gd name="T46" fmla="*/ 21 w 3571"/>
                  <a:gd name="T47" fmla="*/ 125 h 4424"/>
                  <a:gd name="T48" fmla="*/ 30 w 3571"/>
                  <a:gd name="T49" fmla="*/ 162 h 4424"/>
                  <a:gd name="T50" fmla="*/ 27 w 3571"/>
                  <a:gd name="T51" fmla="*/ 195 h 4424"/>
                  <a:gd name="T52" fmla="*/ 42 w 3571"/>
                  <a:gd name="T53" fmla="*/ 223 h 4424"/>
                  <a:gd name="T54" fmla="*/ 47 w 3571"/>
                  <a:gd name="T55" fmla="*/ 254 h 4424"/>
                  <a:gd name="T56" fmla="*/ 70 w 3571"/>
                  <a:gd name="T57" fmla="*/ 289 h 4424"/>
                  <a:gd name="T58" fmla="*/ 60 w 3571"/>
                  <a:gd name="T59" fmla="*/ 311 h 4424"/>
                  <a:gd name="T60" fmla="*/ 57 w 3571"/>
                  <a:gd name="T61" fmla="*/ 325 h 4424"/>
                  <a:gd name="T62" fmla="*/ 82 w 3571"/>
                  <a:gd name="T63" fmla="*/ 327 h 4424"/>
                  <a:gd name="T64" fmla="*/ 102 w 3571"/>
                  <a:gd name="T65" fmla="*/ 327 h 4424"/>
                  <a:gd name="T66" fmla="*/ 146 w 3571"/>
                  <a:gd name="T67" fmla="*/ 343 h 4424"/>
                  <a:gd name="T68" fmla="*/ 164 w 3571"/>
                  <a:gd name="T69" fmla="*/ 362 h 4424"/>
                  <a:gd name="T70" fmla="*/ 188 w 3571"/>
                  <a:gd name="T71" fmla="*/ 353 h 4424"/>
                  <a:gd name="T72" fmla="*/ 192 w 3571"/>
                  <a:gd name="T73" fmla="*/ 354 h 44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571" h="4424">
                    <a:moveTo>
                      <a:pt x="2264" y="4179"/>
                    </a:moveTo>
                    <a:cubicBezTo>
                      <a:pt x="2279" y="4098"/>
                      <a:pt x="2383" y="3986"/>
                      <a:pt x="2413" y="3934"/>
                    </a:cubicBezTo>
                    <a:cubicBezTo>
                      <a:pt x="2494" y="3771"/>
                      <a:pt x="2309" y="3845"/>
                      <a:pt x="2309" y="3556"/>
                    </a:cubicBezTo>
                    <a:cubicBezTo>
                      <a:pt x="2309" y="3326"/>
                      <a:pt x="2420" y="3296"/>
                      <a:pt x="2420" y="3125"/>
                    </a:cubicBezTo>
                    <a:cubicBezTo>
                      <a:pt x="2420" y="3103"/>
                      <a:pt x="2346" y="2984"/>
                      <a:pt x="2472" y="2880"/>
                    </a:cubicBezTo>
                    <a:cubicBezTo>
                      <a:pt x="2546" y="2813"/>
                      <a:pt x="2613" y="2888"/>
                      <a:pt x="2687" y="2813"/>
                    </a:cubicBezTo>
                    <a:cubicBezTo>
                      <a:pt x="2791" y="2702"/>
                      <a:pt x="2821" y="2695"/>
                      <a:pt x="2873" y="2524"/>
                    </a:cubicBezTo>
                    <a:cubicBezTo>
                      <a:pt x="2917" y="2353"/>
                      <a:pt x="3029" y="2323"/>
                      <a:pt x="3066" y="2205"/>
                    </a:cubicBezTo>
                    <a:cubicBezTo>
                      <a:pt x="3110" y="2049"/>
                      <a:pt x="3155" y="2034"/>
                      <a:pt x="3244" y="1945"/>
                    </a:cubicBezTo>
                    <a:cubicBezTo>
                      <a:pt x="3333" y="1848"/>
                      <a:pt x="3556" y="1878"/>
                      <a:pt x="3571" y="1774"/>
                    </a:cubicBezTo>
                    <a:cubicBezTo>
                      <a:pt x="3459" y="1700"/>
                      <a:pt x="3303" y="1692"/>
                      <a:pt x="3237" y="1618"/>
                    </a:cubicBezTo>
                    <a:cubicBezTo>
                      <a:pt x="3177" y="1544"/>
                      <a:pt x="3103" y="1440"/>
                      <a:pt x="2984" y="1373"/>
                    </a:cubicBezTo>
                    <a:cubicBezTo>
                      <a:pt x="2732" y="1239"/>
                      <a:pt x="2932" y="1217"/>
                      <a:pt x="2516" y="868"/>
                    </a:cubicBezTo>
                    <a:cubicBezTo>
                      <a:pt x="2398" y="772"/>
                      <a:pt x="2220" y="690"/>
                      <a:pt x="2056" y="549"/>
                    </a:cubicBezTo>
                    <a:cubicBezTo>
                      <a:pt x="1893" y="400"/>
                      <a:pt x="1789" y="371"/>
                      <a:pt x="1588" y="252"/>
                    </a:cubicBezTo>
                    <a:cubicBezTo>
                      <a:pt x="1455" y="178"/>
                      <a:pt x="1299" y="0"/>
                      <a:pt x="1061" y="0"/>
                    </a:cubicBezTo>
                    <a:cubicBezTo>
                      <a:pt x="972" y="0"/>
                      <a:pt x="846" y="0"/>
                      <a:pt x="757" y="29"/>
                    </a:cubicBezTo>
                    <a:lnTo>
                      <a:pt x="282" y="15"/>
                    </a:lnTo>
                    <a:cubicBezTo>
                      <a:pt x="215" y="89"/>
                      <a:pt x="260" y="208"/>
                      <a:pt x="111" y="289"/>
                    </a:cubicBezTo>
                    <a:cubicBezTo>
                      <a:pt x="0" y="356"/>
                      <a:pt x="104" y="408"/>
                      <a:pt x="200" y="438"/>
                    </a:cubicBezTo>
                    <a:cubicBezTo>
                      <a:pt x="185" y="505"/>
                      <a:pt x="74" y="519"/>
                      <a:pt x="104" y="571"/>
                    </a:cubicBezTo>
                    <a:cubicBezTo>
                      <a:pt x="170" y="698"/>
                      <a:pt x="178" y="809"/>
                      <a:pt x="245" y="950"/>
                    </a:cubicBezTo>
                    <a:cubicBezTo>
                      <a:pt x="260" y="995"/>
                      <a:pt x="326" y="1106"/>
                      <a:pt x="326" y="1180"/>
                    </a:cubicBezTo>
                    <a:cubicBezTo>
                      <a:pt x="326" y="1314"/>
                      <a:pt x="252" y="1336"/>
                      <a:pt x="245" y="1470"/>
                    </a:cubicBezTo>
                    <a:cubicBezTo>
                      <a:pt x="222" y="1774"/>
                      <a:pt x="356" y="1714"/>
                      <a:pt x="349" y="1915"/>
                    </a:cubicBezTo>
                    <a:cubicBezTo>
                      <a:pt x="341" y="2034"/>
                      <a:pt x="319" y="2182"/>
                      <a:pt x="319" y="2301"/>
                    </a:cubicBezTo>
                    <a:cubicBezTo>
                      <a:pt x="319" y="2457"/>
                      <a:pt x="468" y="2479"/>
                      <a:pt x="490" y="2628"/>
                    </a:cubicBezTo>
                    <a:cubicBezTo>
                      <a:pt x="505" y="2784"/>
                      <a:pt x="534" y="2850"/>
                      <a:pt x="557" y="2992"/>
                    </a:cubicBezTo>
                    <a:cubicBezTo>
                      <a:pt x="542" y="3244"/>
                      <a:pt x="824" y="3147"/>
                      <a:pt x="824" y="3407"/>
                    </a:cubicBezTo>
                    <a:cubicBezTo>
                      <a:pt x="824" y="3533"/>
                      <a:pt x="705" y="3578"/>
                      <a:pt x="705" y="3667"/>
                    </a:cubicBezTo>
                    <a:cubicBezTo>
                      <a:pt x="705" y="3689"/>
                      <a:pt x="653" y="3830"/>
                      <a:pt x="668" y="3830"/>
                    </a:cubicBezTo>
                    <a:lnTo>
                      <a:pt x="972" y="3853"/>
                    </a:lnTo>
                    <a:cubicBezTo>
                      <a:pt x="1069" y="3853"/>
                      <a:pt x="1106" y="3897"/>
                      <a:pt x="1202" y="3860"/>
                    </a:cubicBezTo>
                    <a:cubicBezTo>
                      <a:pt x="1344" y="3793"/>
                      <a:pt x="1656" y="3934"/>
                      <a:pt x="1722" y="4046"/>
                    </a:cubicBezTo>
                    <a:cubicBezTo>
                      <a:pt x="1811" y="4179"/>
                      <a:pt x="1900" y="4179"/>
                      <a:pt x="1930" y="4268"/>
                    </a:cubicBezTo>
                    <a:cubicBezTo>
                      <a:pt x="1975" y="4424"/>
                      <a:pt x="2108" y="4164"/>
                      <a:pt x="2220" y="4164"/>
                    </a:cubicBezTo>
                    <a:cubicBezTo>
                      <a:pt x="2235" y="4164"/>
                      <a:pt x="2249" y="4172"/>
                      <a:pt x="2264" y="4179"/>
                    </a:cubicBezTo>
                    <a:close/>
                  </a:path>
                </a:pathLst>
              </a:custGeom>
              <a:solidFill>
                <a:srgbClr val="9FDE74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174"/>
              <p:cNvSpPr>
                <a:spLocks/>
              </p:cNvSpPr>
              <p:nvPr/>
            </p:nvSpPr>
            <p:spPr bwMode="auto">
              <a:xfrm>
                <a:off x="7051508" y="2578691"/>
                <a:ext cx="436024" cy="264300"/>
              </a:xfrm>
              <a:custGeom>
                <a:avLst/>
                <a:gdLst>
                  <a:gd name="T0" fmla="*/ 6 w 3110"/>
                  <a:gd name="T1" fmla="*/ 113 h 1886"/>
                  <a:gd name="T2" fmla="*/ 11 w 3110"/>
                  <a:gd name="T3" fmla="*/ 94 h 1886"/>
                  <a:gd name="T4" fmla="*/ 29 w 3110"/>
                  <a:gd name="T5" fmla="*/ 88 h 1886"/>
                  <a:gd name="T6" fmla="*/ 45 w 3110"/>
                  <a:gd name="T7" fmla="*/ 64 h 1886"/>
                  <a:gd name="T8" fmla="*/ 61 w 3110"/>
                  <a:gd name="T9" fmla="*/ 37 h 1886"/>
                  <a:gd name="T10" fmla="*/ 76 w 3110"/>
                  <a:gd name="T11" fmla="*/ 15 h 1886"/>
                  <a:gd name="T12" fmla="*/ 104 w 3110"/>
                  <a:gd name="T13" fmla="*/ 0 h 1886"/>
                  <a:gd name="T14" fmla="*/ 111 w 3110"/>
                  <a:gd name="T15" fmla="*/ 10 h 1886"/>
                  <a:gd name="T16" fmla="*/ 166 w 3110"/>
                  <a:gd name="T17" fmla="*/ 33 h 1886"/>
                  <a:gd name="T18" fmla="*/ 254 w 3110"/>
                  <a:gd name="T19" fmla="*/ 93 h 1886"/>
                  <a:gd name="T20" fmla="*/ 261 w 3110"/>
                  <a:gd name="T21" fmla="*/ 120 h 1886"/>
                  <a:gd name="T22" fmla="*/ 264 w 3110"/>
                  <a:gd name="T23" fmla="*/ 136 h 1886"/>
                  <a:gd name="T24" fmla="*/ 207 w 3110"/>
                  <a:gd name="T25" fmla="*/ 126 h 1886"/>
                  <a:gd name="T26" fmla="*/ 186 w 3110"/>
                  <a:gd name="T27" fmla="*/ 129 h 1886"/>
                  <a:gd name="T28" fmla="*/ 168 w 3110"/>
                  <a:gd name="T29" fmla="*/ 116 h 1886"/>
                  <a:gd name="T30" fmla="*/ 158 w 3110"/>
                  <a:gd name="T31" fmla="*/ 128 h 1886"/>
                  <a:gd name="T32" fmla="*/ 158 w 3110"/>
                  <a:gd name="T33" fmla="*/ 139 h 1886"/>
                  <a:gd name="T34" fmla="*/ 142 w 3110"/>
                  <a:gd name="T35" fmla="*/ 160 h 1886"/>
                  <a:gd name="T36" fmla="*/ 125 w 3110"/>
                  <a:gd name="T37" fmla="*/ 143 h 1886"/>
                  <a:gd name="T38" fmla="*/ 107 w 3110"/>
                  <a:gd name="T39" fmla="*/ 147 h 1886"/>
                  <a:gd name="T40" fmla="*/ 86 w 3110"/>
                  <a:gd name="T41" fmla="*/ 135 h 1886"/>
                  <a:gd name="T42" fmla="*/ 111 w 3110"/>
                  <a:gd name="T43" fmla="*/ 95 h 1886"/>
                  <a:gd name="T44" fmla="*/ 101 w 3110"/>
                  <a:gd name="T45" fmla="*/ 89 h 1886"/>
                  <a:gd name="T46" fmla="*/ 37 w 3110"/>
                  <a:gd name="T47" fmla="*/ 120 h 1886"/>
                  <a:gd name="T48" fmla="*/ 13 w 3110"/>
                  <a:gd name="T49" fmla="*/ 115 h 1886"/>
                  <a:gd name="T50" fmla="*/ 6 w 3110"/>
                  <a:gd name="T51" fmla="*/ 113 h 188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3110" h="1886">
                    <a:moveTo>
                      <a:pt x="67" y="1336"/>
                    </a:moveTo>
                    <a:cubicBezTo>
                      <a:pt x="67" y="1321"/>
                      <a:pt x="0" y="1210"/>
                      <a:pt x="126" y="1106"/>
                    </a:cubicBezTo>
                    <a:cubicBezTo>
                      <a:pt x="200" y="1039"/>
                      <a:pt x="267" y="1114"/>
                      <a:pt x="341" y="1039"/>
                    </a:cubicBezTo>
                    <a:cubicBezTo>
                      <a:pt x="445" y="928"/>
                      <a:pt x="475" y="921"/>
                      <a:pt x="527" y="750"/>
                    </a:cubicBezTo>
                    <a:cubicBezTo>
                      <a:pt x="571" y="579"/>
                      <a:pt x="683" y="549"/>
                      <a:pt x="720" y="431"/>
                    </a:cubicBezTo>
                    <a:cubicBezTo>
                      <a:pt x="764" y="275"/>
                      <a:pt x="809" y="260"/>
                      <a:pt x="898" y="171"/>
                    </a:cubicBezTo>
                    <a:cubicBezTo>
                      <a:pt x="987" y="74"/>
                      <a:pt x="1210" y="104"/>
                      <a:pt x="1225" y="0"/>
                    </a:cubicBezTo>
                    <a:cubicBezTo>
                      <a:pt x="1254" y="37"/>
                      <a:pt x="1292" y="67"/>
                      <a:pt x="1306" y="119"/>
                    </a:cubicBezTo>
                    <a:cubicBezTo>
                      <a:pt x="1462" y="252"/>
                      <a:pt x="1663" y="393"/>
                      <a:pt x="1952" y="386"/>
                    </a:cubicBezTo>
                    <a:cubicBezTo>
                      <a:pt x="2554" y="371"/>
                      <a:pt x="2917" y="460"/>
                      <a:pt x="2992" y="1099"/>
                    </a:cubicBezTo>
                    <a:cubicBezTo>
                      <a:pt x="3073" y="1143"/>
                      <a:pt x="3044" y="1255"/>
                      <a:pt x="3073" y="1418"/>
                    </a:cubicBezTo>
                    <a:cubicBezTo>
                      <a:pt x="3081" y="1470"/>
                      <a:pt x="3096" y="1529"/>
                      <a:pt x="3110" y="1604"/>
                    </a:cubicBezTo>
                    <a:cubicBezTo>
                      <a:pt x="2851" y="1604"/>
                      <a:pt x="2687" y="1485"/>
                      <a:pt x="2442" y="1485"/>
                    </a:cubicBezTo>
                    <a:lnTo>
                      <a:pt x="2197" y="1522"/>
                    </a:lnTo>
                    <a:cubicBezTo>
                      <a:pt x="2093" y="1522"/>
                      <a:pt x="2071" y="1373"/>
                      <a:pt x="1975" y="1373"/>
                    </a:cubicBezTo>
                    <a:cubicBezTo>
                      <a:pt x="1893" y="1373"/>
                      <a:pt x="1856" y="1463"/>
                      <a:pt x="1856" y="1507"/>
                    </a:cubicBezTo>
                    <a:lnTo>
                      <a:pt x="1856" y="1641"/>
                    </a:lnTo>
                    <a:cubicBezTo>
                      <a:pt x="1856" y="1700"/>
                      <a:pt x="1782" y="1886"/>
                      <a:pt x="1670" y="1886"/>
                    </a:cubicBezTo>
                    <a:cubicBezTo>
                      <a:pt x="1566" y="1886"/>
                      <a:pt x="1574" y="1685"/>
                      <a:pt x="1470" y="1685"/>
                    </a:cubicBezTo>
                    <a:cubicBezTo>
                      <a:pt x="1395" y="1685"/>
                      <a:pt x="1351" y="1737"/>
                      <a:pt x="1262" y="1737"/>
                    </a:cubicBezTo>
                    <a:cubicBezTo>
                      <a:pt x="1180" y="1737"/>
                      <a:pt x="1009" y="1656"/>
                      <a:pt x="1009" y="1596"/>
                    </a:cubicBezTo>
                    <a:cubicBezTo>
                      <a:pt x="1009" y="1373"/>
                      <a:pt x="1306" y="1329"/>
                      <a:pt x="1306" y="1121"/>
                    </a:cubicBezTo>
                    <a:cubicBezTo>
                      <a:pt x="1306" y="1076"/>
                      <a:pt x="1262" y="1047"/>
                      <a:pt x="1188" y="1047"/>
                    </a:cubicBezTo>
                    <a:cubicBezTo>
                      <a:pt x="876" y="1047"/>
                      <a:pt x="757" y="1411"/>
                      <a:pt x="438" y="1411"/>
                    </a:cubicBezTo>
                    <a:cubicBezTo>
                      <a:pt x="304" y="1411"/>
                      <a:pt x="237" y="1351"/>
                      <a:pt x="148" y="1351"/>
                    </a:cubicBezTo>
                    <a:cubicBezTo>
                      <a:pt x="148" y="1351"/>
                      <a:pt x="96" y="1336"/>
                      <a:pt x="67" y="1336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176"/>
              <p:cNvSpPr>
                <a:spLocks/>
              </p:cNvSpPr>
              <p:nvPr/>
            </p:nvSpPr>
            <p:spPr bwMode="auto">
              <a:xfrm>
                <a:off x="5596441" y="2565476"/>
                <a:ext cx="599534" cy="1063806"/>
              </a:xfrm>
              <a:custGeom>
                <a:avLst/>
                <a:gdLst>
                  <a:gd name="T0" fmla="*/ 43 w 4276"/>
                  <a:gd name="T1" fmla="*/ 556 h 7594"/>
                  <a:gd name="T2" fmla="*/ 101 w 4276"/>
                  <a:gd name="T3" fmla="*/ 614 h 7594"/>
                  <a:gd name="T4" fmla="*/ 150 w 4276"/>
                  <a:gd name="T5" fmla="*/ 606 h 7594"/>
                  <a:gd name="T6" fmla="*/ 176 w 4276"/>
                  <a:gd name="T7" fmla="*/ 621 h 7594"/>
                  <a:gd name="T8" fmla="*/ 215 w 4276"/>
                  <a:gd name="T9" fmla="*/ 644 h 7594"/>
                  <a:gd name="T10" fmla="*/ 239 w 4276"/>
                  <a:gd name="T11" fmla="*/ 635 h 7594"/>
                  <a:gd name="T12" fmla="*/ 316 w 4276"/>
                  <a:gd name="T13" fmla="*/ 631 h 7594"/>
                  <a:gd name="T14" fmla="*/ 325 w 4276"/>
                  <a:gd name="T15" fmla="*/ 578 h 7594"/>
                  <a:gd name="T16" fmla="*/ 323 w 4276"/>
                  <a:gd name="T17" fmla="*/ 556 h 7594"/>
                  <a:gd name="T18" fmla="*/ 316 w 4276"/>
                  <a:gd name="T19" fmla="*/ 514 h 7594"/>
                  <a:gd name="T20" fmla="*/ 323 w 4276"/>
                  <a:gd name="T21" fmla="*/ 483 h 7594"/>
                  <a:gd name="T22" fmla="*/ 304 w 4276"/>
                  <a:gd name="T23" fmla="*/ 451 h 7594"/>
                  <a:gd name="T24" fmla="*/ 325 w 4276"/>
                  <a:gd name="T25" fmla="*/ 412 h 7594"/>
                  <a:gd name="T26" fmla="*/ 351 w 4276"/>
                  <a:gd name="T27" fmla="*/ 380 h 7594"/>
                  <a:gd name="T28" fmla="*/ 330 w 4276"/>
                  <a:gd name="T29" fmla="*/ 370 h 7594"/>
                  <a:gd name="T30" fmla="*/ 306 w 4276"/>
                  <a:gd name="T31" fmla="*/ 324 h 7594"/>
                  <a:gd name="T32" fmla="*/ 275 w 4276"/>
                  <a:gd name="T33" fmla="*/ 283 h 7594"/>
                  <a:gd name="T34" fmla="*/ 291 w 4276"/>
                  <a:gd name="T35" fmla="*/ 242 h 7594"/>
                  <a:gd name="T36" fmla="*/ 301 w 4276"/>
                  <a:gd name="T37" fmla="*/ 203 h 7594"/>
                  <a:gd name="T38" fmla="*/ 256 w 4276"/>
                  <a:gd name="T39" fmla="*/ 182 h 7594"/>
                  <a:gd name="T40" fmla="*/ 236 w 4276"/>
                  <a:gd name="T41" fmla="*/ 157 h 7594"/>
                  <a:gd name="T42" fmla="*/ 243 w 4276"/>
                  <a:gd name="T43" fmla="*/ 133 h 7594"/>
                  <a:gd name="T44" fmla="*/ 232 w 4276"/>
                  <a:gd name="T45" fmla="*/ 23 h 7594"/>
                  <a:gd name="T46" fmla="*/ 173 w 4276"/>
                  <a:gd name="T47" fmla="*/ 0 h 7594"/>
                  <a:gd name="T48" fmla="*/ 177 w 4276"/>
                  <a:gd name="T49" fmla="*/ 21 h 7594"/>
                  <a:gd name="T50" fmla="*/ 187 w 4276"/>
                  <a:gd name="T51" fmla="*/ 57 h 7594"/>
                  <a:gd name="T52" fmla="*/ 160 w 4276"/>
                  <a:gd name="T53" fmla="*/ 101 h 7594"/>
                  <a:gd name="T54" fmla="*/ 119 w 4276"/>
                  <a:gd name="T55" fmla="*/ 137 h 7594"/>
                  <a:gd name="T56" fmla="*/ 118 w 4276"/>
                  <a:gd name="T57" fmla="*/ 209 h 7594"/>
                  <a:gd name="T58" fmla="*/ 43 w 4276"/>
                  <a:gd name="T59" fmla="*/ 336 h 7594"/>
                  <a:gd name="T60" fmla="*/ 13 w 4276"/>
                  <a:gd name="T61" fmla="*/ 424 h 7594"/>
                  <a:gd name="T62" fmla="*/ 8 w 4276"/>
                  <a:gd name="T63" fmla="*/ 507 h 7594"/>
                  <a:gd name="T64" fmla="*/ 18 w 4276"/>
                  <a:gd name="T65" fmla="*/ 564 h 7594"/>
                  <a:gd name="T66" fmla="*/ 23 w 4276"/>
                  <a:gd name="T67" fmla="*/ 585 h 759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276" h="7594">
                    <a:moveTo>
                      <a:pt x="274" y="6904"/>
                    </a:moveTo>
                    <a:cubicBezTo>
                      <a:pt x="400" y="6719"/>
                      <a:pt x="341" y="6666"/>
                      <a:pt x="512" y="6555"/>
                    </a:cubicBezTo>
                    <a:cubicBezTo>
                      <a:pt x="556" y="6666"/>
                      <a:pt x="534" y="6934"/>
                      <a:pt x="534" y="6963"/>
                    </a:cubicBezTo>
                    <a:cubicBezTo>
                      <a:pt x="534" y="7001"/>
                      <a:pt x="1068" y="7246"/>
                      <a:pt x="1187" y="7246"/>
                    </a:cubicBezTo>
                    <a:cubicBezTo>
                      <a:pt x="1291" y="7246"/>
                      <a:pt x="1291" y="7060"/>
                      <a:pt x="1395" y="7060"/>
                    </a:cubicBezTo>
                    <a:cubicBezTo>
                      <a:pt x="1432" y="7060"/>
                      <a:pt x="1744" y="7127"/>
                      <a:pt x="1766" y="7149"/>
                    </a:cubicBezTo>
                    <a:cubicBezTo>
                      <a:pt x="1826" y="7186"/>
                      <a:pt x="1841" y="7416"/>
                      <a:pt x="1937" y="7416"/>
                    </a:cubicBezTo>
                    <a:cubicBezTo>
                      <a:pt x="2019" y="7416"/>
                      <a:pt x="2048" y="7342"/>
                      <a:pt x="2078" y="7320"/>
                    </a:cubicBezTo>
                    <a:lnTo>
                      <a:pt x="2175" y="7320"/>
                    </a:lnTo>
                    <a:cubicBezTo>
                      <a:pt x="2175" y="7535"/>
                      <a:pt x="2353" y="7594"/>
                      <a:pt x="2531" y="7594"/>
                    </a:cubicBezTo>
                    <a:cubicBezTo>
                      <a:pt x="2546" y="7476"/>
                      <a:pt x="2635" y="7461"/>
                      <a:pt x="2687" y="7379"/>
                    </a:cubicBezTo>
                    <a:cubicBezTo>
                      <a:pt x="2754" y="7401"/>
                      <a:pt x="2783" y="7424"/>
                      <a:pt x="2821" y="7491"/>
                    </a:cubicBezTo>
                    <a:cubicBezTo>
                      <a:pt x="2976" y="7327"/>
                      <a:pt x="3155" y="7513"/>
                      <a:pt x="3303" y="7379"/>
                    </a:cubicBezTo>
                    <a:cubicBezTo>
                      <a:pt x="3392" y="7439"/>
                      <a:pt x="3600" y="7416"/>
                      <a:pt x="3726" y="7439"/>
                    </a:cubicBezTo>
                    <a:cubicBezTo>
                      <a:pt x="3719" y="7097"/>
                      <a:pt x="3993" y="7067"/>
                      <a:pt x="3882" y="6963"/>
                    </a:cubicBezTo>
                    <a:cubicBezTo>
                      <a:pt x="3823" y="6934"/>
                      <a:pt x="3823" y="6904"/>
                      <a:pt x="3823" y="6815"/>
                    </a:cubicBezTo>
                    <a:cubicBezTo>
                      <a:pt x="3823" y="6770"/>
                      <a:pt x="3919" y="6770"/>
                      <a:pt x="3919" y="6726"/>
                    </a:cubicBezTo>
                    <a:cubicBezTo>
                      <a:pt x="3919" y="6652"/>
                      <a:pt x="3800" y="6629"/>
                      <a:pt x="3800" y="6555"/>
                    </a:cubicBezTo>
                    <a:cubicBezTo>
                      <a:pt x="3800" y="6474"/>
                      <a:pt x="3882" y="6481"/>
                      <a:pt x="3882" y="6384"/>
                    </a:cubicBezTo>
                    <a:cubicBezTo>
                      <a:pt x="3882" y="6288"/>
                      <a:pt x="3711" y="6362"/>
                      <a:pt x="3726" y="6065"/>
                    </a:cubicBezTo>
                    <a:cubicBezTo>
                      <a:pt x="3734" y="5924"/>
                      <a:pt x="3852" y="6006"/>
                      <a:pt x="3897" y="5850"/>
                    </a:cubicBezTo>
                    <a:cubicBezTo>
                      <a:pt x="3978" y="5753"/>
                      <a:pt x="3786" y="5768"/>
                      <a:pt x="3800" y="5701"/>
                    </a:cubicBezTo>
                    <a:cubicBezTo>
                      <a:pt x="3800" y="5657"/>
                      <a:pt x="3978" y="5672"/>
                      <a:pt x="3941" y="5598"/>
                    </a:cubicBezTo>
                    <a:cubicBezTo>
                      <a:pt x="3897" y="5397"/>
                      <a:pt x="3585" y="5553"/>
                      <a:pt x="3585" y="5323"/>
                    </a:cubicBezTo>
                    <a:cubicBezTo>
                      <a:pt x="3585" y="5145"/>
                      <a:pt x="3682" y="5085"/>
                      <a:pt x="3778" y="5011"/>
                    </a:cubicBezTo>
                    <a:cubicBezTo>
                      <a:pt x="3860" y="4944"/>
                      <a:pt x="3823" y="4900"/>
                      <a:pt x="3830" y="4862"/>
                    </a:cubicBezTo>
                    <a:cubicBezTo>
                      <a:pt x="3852" y="4773"/>
                      <a:pt x="4171" y="4669"/>
                      <a:pt x="4276" y="4476"/>
                    </a:cubicBezTo>
                    <a:cubicBezTo>
                      <a:pt x="4231" y="4484"/>
                      <a:pt x="4194" y="4491"/>
                      <a:pt x="4135" y="4476"/>
                    </a:cubicBezTo>
                    <a:cubicBezTo>
                      <a:pt x="4105" y="4476"/>
                      <a:pt x="4082" y="4447"/>
                      <a:pt x="4053" y="4417"/>
                    </a:cubicBezTo>
                    <a:cubicBezTo>
                      <a:pt x="4016" y="4387"/>
                      <a:pt x="3971" y="4358"/>
                      <a:pt x="3890" y="4358"/>
                    </a:cubicBezTo>
                    <a:cubicBezTo>
                      <a:pt x="3652" y="4358"/>
                      <a:pt x="3689" y="4098"/>
                      <a:pt x="3570" y="4024"/>
                    </a:cubicBezTo>
                    <a:cubicBezTo>
                      <a:pt x="3518" y="4001"/>
                      <a:pt x="3578" y="3853"/>
                      <a:pt x="3607" y="3823"/>
                    </a:cubicBezTo>
                    <a:cubicBezTo>
                      <a:pt x="3682" y="3697"/>
                      <a:pt x="3385" y="3742"/>
                      <a:pt x="3370" y="3526"/>
                    </a:cubicBezTo>
                    <a:cubicBezTo>
                      <a:pt x="3370" y="3303"/>
                      <a:pt x="3236" y="3415"/>
                      <a:pt x="3236" y="3341"/>
                    </a:cubicBezTo>
                    <a:cubicBezTo>
                      <a:pt x="3236" y="3207"/>
                      <a:pt x="3333" y="3214"/>
                      <a:pt x="3355" y="3103"/>
                    </a:cubicBezTo>
                    <a:cubicBezTo>
                      <a:pt x="3370" y="3044"/>
                      <a:pt x="3362" y="2910"/>
                      <a:pt x="3422" y="2851"/>
                    </a:cubicBezTo>
                    <a:cubicBezTo>
                      <a:pt x="3526" y="2747"/>
                      <a:pt x="3711" y="2984"/>
                      <a:pt x="3711" y="2554"/>
                    </a:cubicBezTo>
                    <a:cubicBezTo>
                      <a:pt x="3711" y="2457"/>
                      <a:pt x="3667" y="2398"/>
                      <a:pt x="3548" y="2398"/>
                    </a:cubicBezTo>
                    <a:cubicBezTo>
                      <a:pt x="3429" y="2398"/>
                      <a:pt x="3259" y="2479"/>
                      <a:pt x="3214" y="2442"/>
                    </a:cubicBezTo>
                    <a:cubicBezTo>
                      <a:pt x="3177" y="2413"/>
                      <a:pt x="3043" y="2264"/>
                      <a:pt x="3013" y="2145"/>
                    </a:cubicBezTo>
                    <a:cubicBezTo>
                      <a:pt x="2976" y="2026"/>
                      <a:pt x="2865" y="2034"/>
                      <a:pt x="2850" y="2026"/>
                    </a:cubicBezTo>
                    <a:cubicBezTo>
                      <a:pt x="2694" y="1930"/>
                      <a:pt x="2962" y="1945"/>
                      <a:pt x="2783" y="1856"/>
                    </a:cubicBezTo>
                    <a:cubicBezTo>
                      <a:pt x="2761" y="1856"/>
                      <a:pt x="2627" y="1834"/>
                      <a:pt x="2687" y="1767"/>
                    </a:cubicBezTo>
                    <a:cubicBezTo>
                      <a:pt x="2724" y="1640"/>
                      <a:pt x="2850" y="1707"/>
                      <a:pt x="2865" y="1574"/>
                    </a:cubicBezTo>
                    <a:cubicBezTo>
                      <a:pt x="2917" y="1240"/>
                      <a:pt x="2939" y="1047"/>
                      <a:pt x="2939" y="735"/>
                    </a:cubicBezTo>
                    <a:cubicBezTo>
                      <a:pt x="2939" y="453"/>
                      <a:pt x="2768" y="275"/>
                      <a:pt x="2731" y="267"/>
                    </a:cubicBezTo>
                    <a:cubicBezTo>
                      <a:pt x="2509" y="252"/>
                      <a:pt x="2657" y="67"/>
                      <a:pt x="2345" y="96"/>
                    </a:cubicBezTo>
                    <a:cubicBezTo>
                      <a:pt x="2234" y="104"/>
                      <a:pt x="2145" y="37"/>
                      <a:pt x="2041" y="0"/>
                    </a:cubicBezTo>
                    <a:cubicBezTo>
                      <a:pt x="1967" y="52"/>
                      <a:pt x="1885" y="96"/>
                      <a:pt x="1885" y="163"/>
                    </a:cubicBezTo>
                    <a:cubicBezTo>
                      <a:pt x="1885" y="238"/>
                      <a:pt x="2019" y="230"/>
                      <a:pt x="2085" y="245"/>
                    </a:cubicBezTo>
                    <a:cubicBezTo>
                      <a:pt x="2175" y="245"/>
                      <a:pt x="2212" y="327"/>
                      <a:pt x="2293" y="401"/>
                    </a:cubicBezTo>
                    <a:cubicBezTo>
                      <a:pt x="2345" y="460"/>
                      <a:pt x="2197" y="482"/>
                      <a:pt x="2197" y="668"/>
                    </a:cubicBezTo>
                    <a:cubicBezTo>
                      <a:pt x="2189" y="913"/>
                      <a:pt x="2048" y="891"/>
                      <a:pt x="2056" y="943"/>
                    </a:cubicBezTo>
                    <a:cubicBezTo>
                      <a:pt x="2041" y="1128"/>
                      <a:pt x="1907" y="1076"/>
                      <a:pt x="1885" y="1195"/>
                    </a:cubicBezTo>
                    <a:cubicBezTo>
                      <a:pt x="1855" y="1292"/>
                      <a:pt x="1885" y="1329"/>
                      <a:pt x="1759" y="1358"/>
                    </a:cubicBezTo>
                    <a:cubicBezTo>
                      <a:pt x="1647" y="1381"/>
                      <a:pt x="1351" y="1425"/>
                      <a:pt x="1402" y="1618"/>
                    </a:cubicBezTo>
                    <a:cubicBezTo>
                      <a:pt x="1454" y="1841"/>
                      <a:pt x="1276" y="1952"/>
                      <a:pt x="1276" y="2079"/>
                    </a:cubicBezTo>
                    <a:cubicBezTo>
                      <a:pt x="1276" y="2257"/>
                      <a:pt x="1514" y="2145"/>
                      <a:pt x="1395" y="2465"/>
                    </a:cubicBezTo>
                    <a:cubicBezTo>
                      <a:pt x="1313" y="2687"/>
                      <a:pt x="1157" y="3103"/>
                      <a:pt x="972" y="3170"/>
                    </a:cubicBezTo>
                    <a:cubicBezTo>
                      <a:pt x="571" y="3467"/>
                      <a:pt x="504" y="3957"/>
                      <a:pt x="504" y="3957"/>
                    </a:cubicBezTo>
                    <a:cubicBezTo>
                      <a:pt x="393" y="4172"/>
                      <a:pt x="296" y="4328"/>
                      <a:pt x="289" y="4439"/>
                    </a:cubicBezTo>
                    <a:cubicBezTo>
                      <a:pt x="274" y="4581"/>
                      <a:pt x="178" y="4521"/>
                      <a:pt x="148" y="5003"/>
                    </a:cubicBezTo>
                    <a:cubicBezTo>
                      <a:pt x="141" y="5196"/>
                      <a:pt x="0" y="5271"/>
                      <a:pt x="96" y="5575"/>
                    </a:cubicBezTo>
                    <a:cubicBezTo>
                      <a:pt x="133" y="5701"/>
                      <a:pt x="51" y="5880"/>
                      <a:pt x="96" y="5976"/>
                    </a:cubicBezTo>
                    <a:cubicBezTo>
                      <a:pt x="185" y="6147"/>
                      <a:pt x="155" y="6214"/>
                      <a:pt x="133" y="6340"/>
                    </a:cubicBezTo>
                    <a:cubicBezTo>
                      <a:pt x="103" y="6518"/>
                      <a:pt x="274" y="6548"/>
                      <a:pt x="215" y="6652"/>
                    </a:cubicBezTo>
                    <a:cubicBezTo>
                      <a:pt x="178" y="6726"/>
                      <a:pt x="178" y="6852"/>
                      <a:pt x="141" y="6963"/>
                    </a:cubicBezTo>
                    <a:lnTo>
                      <a:pt x="274" y="6904"/>
                    </a:ln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Rectangle 178"/>
              <p:cNvSpPr>
                <a:spLocks noChangeArrowheads="1"/>
              </p:cNvSpPr>
              <p:nvPr/>
            </p:nvSpPr>
            <p:spPr bwMode="auto">
              <a:xfrm>
                <a:off x="5854092" y="3796121"/>
                <a:ext cx="137083" cy="87549"/>
              </a:xfrm>
              <a:prstGeom prst="rect">
                <a:avLst/>
              </a:prstGeom>
              <a:grpFill/>
              <a:ln w="6350">
                <a:solidFill>
                  <a:srgbClr val="FEFEFE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1pPr>
                <a:lvl2pPr marL="742950" indent="-28575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2pPr>
                <a:lvl3pPr marL="1143000" indent="-22860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3pPr>
                <a:lvl4pPr marL="1600200" indent="-22860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4pPr>
                <a:lvl5pPr marL="2057400" indent="-22860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9pPr>
              </a:lstStyle>
              <a:p>
                <a:pPr eaLnBrk="1" hangingPunct="1">
                  <a:defRPr/>
                </a:pPr>
                <a:endParaRPr lang="pt-BR" altLang="pt-BR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91" name="Grupo 2"/>
            <p:cNvGrpSpPr/>
            <p:nvPr/>
          </p:nvGrpSpPr>
          <p:grpSpPr>
            <a:xfrm>
              <a:off x="5251587" y="548680"/>
              <a:ext cx="4066804" cy="3982595"/>
              <a:chOff x="2846514" y="1348046"/>
              <a:chExt cx="4655883" cy="4116466"/>
            </a:xfrm>
            <a:solidFill>
              <a:srgbClr val="9FDE74"/>
            </a:solidFill>
          </p:grpSpPr>
          <p:sp>
            <p:nvSpPr>
              <p:cNvPr id="192" name="Freeform 141"/>
              <p:cNvSpPr>
                <a:spLocks/>
              </p:cNvSpPr>
              <p:nvPr/>
            </p:nvSpPr>
            <p:spPr bwMode="auto">
              <a:xfrm>
                <a:off x="5726918" y="1952631"/>
                <a:ext cx="51200" cy="23126"/>
              </a:xfrm>
              <a:custGeom>
                <a:avLst/>
                <a:gdLst>
                  <a:gd name="T0" fmla="*/ 0 w 356"/>
                  <a:gd name="T1" fmla="*/ 9 h 163"/>
                  <a:gd name="T2" fmla="*/ 16 w 356"/>
                  <a:gd name="T3" fmla="*/ 1 h 163"/>
                  <a:gd name="T4" fmla="*/ 31 w 356"/>
                  <a:gd name="T5" fmla="*/ 4 h 163"/>
                  <a:gd name="T6" fmla="*/ 17 w 356"/>
                  <a:gd name="T7" fmla="*/ 14 h 163"/>
                  <a:gd name="T8" fmla="*/ 0 w 356"/>
                  <a:gd name="T9" fmla="*/ 9 h 1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56" h="163">
                    <a:moveTo>
                      <a:pt x="0" y="104"/>
                    </a:moveTo>
                    <a:cubicBezTo>
                      <a:pt x="37" y="89"/>
                      <a:pt x="81" y="15"/>
                      <a:pt x="185" y="15"/>
                    </a:cubicBezTo>
                    <a:cubicBezTo>
                      <a:pt x="289" y="15"/>
                      <a:pt x="356" y="0"/>
                      <a:pt x="356" y="52"/>
                    </a:cubicBezTo>
                    <a:cubicBezTo>
                      <a:pt x="356" y="96"/>
                      <a:pt x="297" y="163"/>
                      <a:pt x="200" y="163"/>
                    </a:cubicBezTo>
                    <a:cubicBezTo>
                      <a:pt x="89" y="163"/>
                      <a:pt x="0" y="156"/>
                      <a:pt x="0" y="10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142"/>
              <p:cNvSpPr>
                <a:spLocks/>
              </p:cNvSpPr>
              <p:nvPr/>
            </p:nvSpPr>
            <p:spPr bwMode="auto">
              <a:xfrm>
                <a:off x="5655899" y="1922898"/>
                <a:ext cx="79277" cy="42949"/>
              </a:xfrm>
              <a:custGeom>
                <a:avLst/>
                <a:gdLst>
                  <a:gd name="T0" fmla="*/ 17 w 571"/>
                  <a:gd name="T1" fmla="*/ 3 h 304"/>
                  <a:gd name="T2" fmla="*/ 0 w 571"/>
                  <a:gd name="T3" fmla="*/ 14 h 304"/>
                  <a:gd name="T4" fmla="*/ 27 w 571"/>
                  <a:gd name="T5" fmla="*/ 26 h 304"/>
                  <a:gd name="T6" fmla="*/ 48 w 571"/>
                  <a:gd name="T7" fmla="*/ 11 h 304"/>
                  <a:gd name="T8" fmla="*/ 37 w 571"/>
                  <a:gd name="T9" fmla="*/ 0 h 304"/>
                  <a:gd name="T10" fmla="*/ 24 w 571"/>
                  <a:gd name="T11" fmla="*/ 6 h 304"/>
                  <a:gd name="T12" fmla="*/ 17 w 571"/>
                  <a:gd name="T13" fmla="*/ 3 h 3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71" h="304">
                    <a:moveTo>
                      <a:pt x="207" y="37"/>
                    </a:moveTo>
                    <a:cubicBezTo>
                      <a:pt x="96" y="37"/>
                      <a:pt x="0" y="74"/>
                      <a:pt x="0" y="163"/>
                    </a:cubicBezTo>
                    <a:cubicBezTo>
                      <a:pt x="0" y="267"/>
                      <a:pt x="237" y="304"/>
                      <a:pt x="319" y="304"/>
                    </a:cubicBezTo>
                    <a:cubicBezTo>
                      <a:pt x="363" y="304"/>
                      <a:pt x="571" y="193"/>
                      <a:pt x="571" y="126"/>
                    </a:cubicBezTo>
                    <a:cubicBezTo>
                      <a:pt x="571" y="59"/>
                      <a:pt x="475" y="0"/>
                      <a:pt x="437" y="0"/>
                    </a:cubicBezTo>
                    <a:cubicBezTo>
                      <a:pt x="363" y="0"/>
                      <a:pt x="341" y="66"/>
                      <a:pt x="282" y="66"/>
                    </a:cubicBezTo>
                    <a:cubicBezTo>
                      <a:pt x="259" y="66"/>
                      <a:pt x="230" y="37"/>
                      <a:pt x="207" y="37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143"/>
              <p:cNvSpPr>
                <a:spLocks/>
              </p:cNvSpPr>
              <p:nvPr/>
            </p:nvSpPr>
            <p:spPr bwMode="auto">
              <a:xfrm>
                <a:off x="5659202" y="1881601"/>
                <a:ext cx="36335" cy="37993"/>
              </a:xfrm>
              <a:custGeom>
                <a:avLst/>
                <a:gdLst>
                  <a:gd name="T0" fmla="*/ 0 w 260"/>
                  <a:gd name="T1" fmla="*/ 15 h 275"/>
                  <a:gd name="T2" fmla="*/ 6 w 260"/>
                  <a:gd name="T3" fmla="*/ 23 h 275"/>
                  <a:gd name="T4" fmla="*/ 22 w 260"/>
                  <a:gd name="T5" fmla="*/ 9 h 275"/>
                  <a:gd name="T6" fmla="*/ 17 w 260"/>
                  <a:gd name="T7" fmla="*/ 2 h 275"/>
                  <a:gd name="T8" fmla="*/ 0 w 260"/>
                  <a:gd name="T9" fmla="*/ 15 h 2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0" h="275">
                    <a:moveTo>
                      <a:pt x="0" y="179"/>
                    </a:moveTo>
                    <a:cubicBezTo>
                      <a:pt x="0" y="231"/>
                      <a:pt x="44" y="275"/>
                      <a:pt x="74" y="275"/>
                    </a:cubicBezTo>
                    <a:cubicBezTo>
                      <a:pt x="163" y="275"/>
                      <a:pt x="260" y="201"/>
                      <a:pt x="260" y="104"/>
                    </a:cubicBezTo>
                    <a:cubicBezTo>
                      <a:pt x="260" y="45"/>
                      <a:pt x="222" y="0"/>
                      <a:pt x="200" y="23"/>
                    </a:cubicBezTo>
                    <a:cubicBezTo>
                      <a:pt x="126" y="104"/>
                      <a:pt x="0" y="104"/>
                      <a:pt x="0" y="179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144"/>
              <p:cNvSpPr>
                <a:spLocks/>
              </p:cNvSpPr>
              <p:nvPr/>
            </p:nvSpPr>
            <p:spPr bwMode="auto">
              <a:xfrm>
                <a:off x="5474222" y="2020358"/>
                <a:ext cx="90838" cy="112327"/>
              </a:xfrm>
              <a:custGeom>
                <a:avLst/>
                <a:gdLst>
                  <a:gd name="T0" fmla="*/ 35 w 646"/>
                  <a:gd name="T1" fmla="*/ 6 h 794"/>
                  <a:gd name="T2" fmla="*/ 44 w 646"/>
                  <a:gd name="T3" fmla="*/ 2 h 794"/>
                  <a:gd name="T4" fmla="*/ 49 w 646"/>
                  <a:gd name="T5" fmla="*/ 25 h 794"/>
                  <a:gd name="T6" fmla="*/ 33 w 646"/>
                  <a:gd name="T7" fmla="*/ 50 h 794"/>
                  <a:gd name="T8" fmla="*/ 8 w 646"/>
                  <a:gd name="T9" fmla="*/ 68 h 794"/>
                  <a:gd name="T10" fmla="*/ 0 w 646"/>
                  <a:gd name="T11" fmla="*/ 60 h 794"/>
                  <a:gd name="T12" fmla="*/ 15 w 646"/>
                  <a:gd name="T13" fmla="*/ 52 h 794"/>
                  <a:gd name="T14" fmla="*/ 21 w 646"/>
                  <a:gd name="T15" fmla="*/ 39 h 794"/>
                  <a:gd name="T16" fmla="*/ 35 w 646"/>
                  <a:gd name="T17" fmla="*/ 6 h 7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46" h="794">
                    <a:moveTo>
                      <a:pt x="416" y="74"/>
                    </a:moveTo>
                    <a:cubicBezTo>
                      <a:pt x="467" y="178"/>
                      <a:pt x="520" y="22"/>
                      <a:pt x="520" y="22"/>
                    </a:cubicBezTo>
                    <a:cubicBezTo>
                      <a:pt x="646" y="0"/>
                      <a:pt x="579" y="259"/>
                      <a:pt x="579" y="296"/>
                    </a:cubicBezTo>
                    <a:cubicBezTo>
                      <a:pt x="579" y="423"/>
                      <a:pt x="460" y="512"/>
                      <a:pt x="393" y="578"/>
                    </a:cubicBezTo>
                    <a:cubicBezTo>
                      <a:pt x="304" y="668"/>
                      <a:pt x="230" y="764"/>
                      <a:pt x="96" y="794"/>
                    </a:cubicBezTo>
                    <a:cubicBezTo>
                      <a:pt x="37" y="779"/>
                      <a:pt x="0" y="749"/>
                      <a:pt x="0" y="698"/>
                    </a:cubicBezTo>
                    <a:cubicBezTo>
                      <a:pt x="0" y="653"/>
                      <a:pt x="119" y="623"/>
                      <a:pt x="178" y="608"/>
                    </a:cubicBezTo>
                    <a:cubicBezTo>
                      <a:pt x="237" y="593"/>
                      <a:pt x="237" y="489"/>
                      <a:pt x="245" y="460"/>
                    </a:cubicBezTo>
                    <a:cubicBezTo>
                      <a:pt x="289" y="311"/>
                      <a:pt x="245" y="88"/>
                      <a:pt x="416" y="7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145"/>
              <p:cNvSpPr>
                <a:spLocks/>
              </p:cNvSpPr>
              <p:nvPr/>
            </p:nvSpPr>
            <p:spPr bwMode="auto">
              <a:xfrm>
                <a:off x="5574970" y="1955935"/>
                <a:ext cx="52851" cy="52860"/>
              </a:xfrm>
              <a:custGeom>
                <a:avLst/>
                <a:gdLst>
                  <a:gd name="T0" fmla="*/ 7 w 379"/>
                  <a:gd name="T1" fmla="*/ 11 h 378"/>
                  <a:gd name="T2" fmla="*/ 28 w 379"/>
                  <a:gd name="T3" fmla="*/ 4 h 378"/>
                  <a:gd name="T4" fmla="*/ 15 w 379"/>
                  <a:gd name="T5" fmla="*/ 23 h 378"/>
                  <a:gd name="T6" fmla="*/ 4 w 379"/>
                  <a:gd name="T7" fmla="*/ 24 h 378"/>
                  <a:gd name="T8" fmla="*/ 7 w 379"/>
                  <a:gd name="T9" fmla="*/ 11 h 3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79" h="378">
                    <a:moveTo>
                      <a:pt x="82" y="126"/>
                    </a:moveTo>
                    <a:cubicBezTo>
                      <a:pt x="141" y="59"/>
                      <a:pt x="290" y="0"/>
                      <a:pt x="335" y="44"/>
                    </a:cubicBezTo>
                    <a:cubicBezTo>
                      <a:pt x="379" y="89"/>
                      <a:pt x="275" y="274"/>
                      <a:pt x="179" y="267"/>
                    </a:cubicBezTo>
                    <a:cubicBezTo>
                      <a:pt x="223" y="378"/>
                      <a:pt x="90" y="334"/>
                      <a:pt x="45" y="289"/>
                    </a:cubicBezTo>
                    <a:cubicBezTo>
                      <a:pt x="0" y="237"/>
                      <a:pt x="8" y="200"/>
                      <a:pt x="82" y="126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146"/>
              <p:cNvSpPr>
                <a:spLocks/>
              </p:cNvSpPr>
              <p:nvPr/>
            </p:nvSpPr>
            <p:spPr bwMode="auto">
              <a:xfrm>
                <a:off x="5570016" y="2005491"/>
                <a:ext cx="31381" cy="46252"/>
              </a:xfrm>
              <a:custGeom>
                <a:avLst/>
                <a:gdLst>
                  <a:gd name="T0" fmla="*/ 1 w 223"/>
                  <a:gd name="T1" fmla="*/ 20 h 327"/>
                  <a:gd name="T2" fmla="*/ 4 w 223"/>
                  <a:gd name="T3" fmla="*/ 4 h 327"/>
                  <a:gd name="T4" fmla="*/ 18 w 223"/>
                  <a:gd name="T5" fmla="*/ 3 h 327"/>
                  <a:gd name="T6" fmla="*/ 13 w 223"/>
                  <a:gd name="T7" fmla="*/ 25 h 327"/>
                  <a:gd name="T8" fmla="*/ 1 w 223"/>
                  <a:gd name="T9" fmla="*/ 20 h 3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3" h="327">
                    <a:moveTo>
                      <a:pt x="15" y="231"/>
                    </a:moveTo>
                    <a:cubicBezTo>
                      <a:pt x="0" y="201"/>
                      <a:pt x="0" y="82"/>
                      <a:pt x="52" y="45"/>
                    </a:cubicBezTo>
                    <a:cubicBezTo>
                      <a:pt x="111" y="15"/>
                      <a:pt x="185" y="0"/>
                      <a:pt x="207" y="30"/>
                    </a:cubicBezTo>
                    <a:cubicBezTo>
                      <a:pt x="223" y="67"/>
                      <a:pt x="141" y="186"/>
                      <a:pt x="148" y="290"/>
                    </a:cubicBezTo>
                    <a:cubicBezTo>
                      <a:pt x="89" y="327"/>
                      <a:pt x="37" y="268"/>
                      <a:pt x="15" y="231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147"/>
              <p:cNvSpPr>
                <a:spLocks/>
              </p:cNvSpPr>
              <p:nvPr/>
            </p:nvSpPr>
            <p:spPr bwMode="auto">
              <a:xfrm>
                <a:off x="5563409" y="2053395"/>
                <a:ext cx="24774" cy="23126"/>
              </a:xfrm>
              <a:custGeom>
                <a:avLst/>
                <a:gdLst>
                  <a:gd name="T0" fmla="*/ 0 w 178"/>
                  <a:gd name="T1" fmla="*/ 12 h 170"/>
                  <a:gd name="T2" fmla="*/ 8 w 178"/>
                  <a:gd name="T3" fmla="*/ 1 h 170"/>
                  <a:gd name="T4" fmla="*/ 15 w 178"/>
                  <a:gd name="T5" fmla="*/ 2 h 170"/>
                  <a:gd name="T6" fmla="*/ 8 w 178"/>
                  <a:gd name="T7" fmla="*/ 9 h 170"/>
                  <a:gd name="T8" fmla="*/ 0 w 178"/>
                  <a:gd name="T9" fmla="*/ 12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8" h="170">
                    <a:moveTo>
                      <a:pt x="0" y="140"/>
                    </a:moveTo>
                    <a:cubicBezTo>
                      <a:pt x="0" y="111"/>
                      <a:pt x="44" y="14"/>
                      <a:pt x="89" y="14"/>
                    </a:cubicBezTo>
                    <a:cubicBezTo>
                      <a:pt x="126" y="14"/>
                      <a:pt x="178" y="0"/>
                      <a:pt x="178" y="29"/>
                    </a:cubicBezTo>
                    <a:cubicBezTo>
                      <a:pt x="178" y="52"/>
                      <a:pt x="126" y="111"/>
                      <a:pt x="89" y="111"/>
                    </a:cubicBezTo>
                    <a:cubicBezTo>
                      <a:pt x="44" y="111"/>
                      <a:pt x="0" y="170"/>
                      <a:pt x="0" y="140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148"/>
              <p:cNvSpPr>
                <a:spLocks/>
              </p:cNvSpPr>
              <p:nvPr/>
            </p:nvSpPr>
            <p:spPr bwMode="auto">
              <a:xfrm>
                <a:off x="5550196" y="1988972"/>
                <a:ext cx="19819" cy="26430"/>
              </a:xfrm>
              <a:custGeom>
                <a:avLst/>
                <a:gdLst>
                  <a:gd name="T0" fmla="*/ 2 w 149"/>
                  <a:gd name="T1" fmla="*/ 6 h 185"/>
                  <a:gd name="T2" fmla="*/ 8 w 149"/>
                  <a:gd name="T3" fmla="*/ 1 h 185"/>
                  <a:gd name="T4" fmla="*/ 10 w 149"/>
                  <a:gd name="T5" fmla="*/ 8 h 185"/>
                  <a:gd name="T6" fmla="*/ 2 w 149"/>
                  <a:gd name="T7" fmla="*/ 15 h 185"/>
                  <a:gd name="T8" fmla="*/ 2 w 149"/>
                  <a:gd name="T9" fmla="*/ 6 h 1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9" h="185">
                    <a:moveTo>
                      <a:pt x="23" y="74"/>
                    </a:moveTo>
                    <a:cubicBezTo>
                      <a:pt x="37" y="29"/>
                      <a:pt x="82" y="0"/>
                      <a:pt x="97" y="14"/>
                    </a:cubicBezTo>
                    <a:cubicBezTo>
                      <a:pt x="119" y="14"/>
                      <a:pt x="149" y="52"/>
                      <a:pt x="127" y="96"/>
                    </a:cubicBezTo>
                    <a:cubicBezTo>
                      <a:pt x="104" y="148"/>
                      <a:pt x="37" y="185"/>
                      <a:pt x="23" y="178"/>
                    </a:cubicBezTo>
                    <a:cubicBezTo>
                      <a:pt x="0" y="170"/>
                      <a:pt x="0" y="126"/>
                      <a:pt x="23" y="7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149"/>
              <p:cNvSpPr>
                <a:spLocks/>
              </p:cNvSpPr>
              <p:nvPr/>
            </p:nvSpPr>
            <p:spPr bwMode="auto">
              <a:xfrm>
                <a:off x="5631125" y="1937764"/>
                <a:ext cx="14864" cy="26430"/>
              </a:xfrm>
              <a:custGeom>
                <a:avLst/>
                <a:gdLst>
                  <a:gd name="T0" fmla="*/ 1 w 112"/>
                  <a:gd name="T1" fmla="*/ 11 h 185"/>
                  <a:gd name="T2" fmla="*/ 3 w 112"/>
                  <a:gd name="T3" fmla="*/ 0 h 185"/>
                  <a:gd name="T4" fmla="*/ 9 w 112"/>
                  <a:gd name="T5" fmla="*/ 8 h 185"/>
                  <a:gd name="T6" fmla="*/ 6 w 112"/>
                  <a:gd name="T7" fmla="*/ 15 h 185"/>
                  <a:gd name="T8" fmla="*/ 1 w 112"/>
                  <a:gd name="T9" fmla="*/ 11 h 1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2" h="185">
                    <a:moveTo>
                      <a:pt x="8" y="126"/>
                    </a:moveTo>
                    <a:cubicBezTo>
                      <a:pt x="8" y="74"/>
                      <a:pt x="0" y="0"/>
                      <a:pt x="38" y="0"/>
                    </a:cubicBezTo>
                    <a:cubicBezTo>
                      <a:pt x="67" y="0"/>
                      <a:pt x="112" y="29"/>
                      <a:pt x="112" y="89"/>
                    </a:cubicBezTo>
                    <a:cubicBezTo>
                      <a:pt x="112" y="141"/>
                      <a:pt x="112" y="178"/>
                      <a:pt x="75" y="178"/>
                    </a:cubicBezTo>
                    <a:cubicBezTo>
                      <a:pt x="38" y="178"/>
                      <a:pt x="8" y="185"/>
                      <a:pt x="8" y="126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150"/>
              <p:cNvSpPr>
                <a:spLocks/>
              </p:cNvSpPr>
              <p:nvPr/>
            </p:nvSpPr>
            <p:spPr bwMode="auto">
              <a:xfrm>
                <a:off x="5806196" y="2150856"/>
                <a:ext cx="28077" cy="31386"/>
              </a:xfrm>
              <a:custGeom>
                <a:avLst/>
                <a:gdLst>
                  <a:gd name="T0" fmla="*/ 3 w 200"/>
                  <a:gd name="T1" fmla="*/ 10 h 222"/>
                  <a:gd name="T2" fmla="*/ 15 w 200"/>
                  <a:gd name="T3" fmla="*/ 1 h 222"/>
                  <a:gd name="T4" fmla="*/ 9 w 200"/>
                  <a:gd name="T5" fmla="*/ 15 h 222"/>
                  <a:gd name="T6" fmla="*/ 3 w 200"/>
                  <a:gd name="T7" fmla="*/ 17 h 222"/>
                  <a:gd name="T8" fmla="*/ 3 w 200"/>
                  <a:gd name="T9" fmla="*/ 10 h 2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0" h="222">
                    <a:moveTo>
                      <a:pt x="37" y="118"/>
                    </a:moveTo>
                    <a:cubicBezTo>
                      <a:pt x="66" y="66"/>
                      <a:pt x="155" y="0"/>
                      <a:pt x="178" y="14"/>
                    </a:cubicBezTo>
                    <a:cubicBezTo>
                      <a:pt x="200" y="22"/>
                      <a:pt x="141" y="118"/>
                      <a:pt x="111" y="170"/>
                    </a:cubicBezTo>
                    <a:cubicBezTo>
                      <a:pt x="74" y="222"/>
                      <a:pt x="59" y="215"/>
                      <a:pt x="37" y="200"/>
                    </a:cubicBezTo>
                    <a:cubicBezTo>
                      <a:pt x="14" y="185"/>
                      <a:pt x="0" y="170"/>
                      <a:pt x="37" y="11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151"/>
              <p:cNvSpPr>
                <a:spLocks/>
              </p:cNvSpPr>
              <p:nvPr/>
            </p:nvSpPr>
            <p:spPr bwMode="auto">
              <a:xfrm>
                <a:off x="5601396" y="1975757"/>
                <a:ext cx="298941" cy="204832"/>
              </a:xfrm>
              <a:custGeom>
                <a:avLst/>
                <a:gdLst>
                  <a:gd name="T0" fmla="*/ 98 w 2138"/>
                  <a:gd name="T1" fmla="*/ 9 h 1470"/>
                  <a:gd name="T2" fmla="*/ 45 w 2138"/>
                  <a:gd name="T3" fmla="*/ 0 h 1470"/>
                  <a:gd name="T4" fmla="*/ 10 w 2138"/>
                  <a:gd name="T5" fmla="*/ 20 h 1470"/>
                  <a:gd name="T6" fmla="*/ 15 w 2138"/>
                  <a:gd name="T7" fmla="*/ 34 h 1470"/>
                  <a:gd name="T8" fmla="*/ 6 w 2138"/>
                  <a:gd name="T9" fmla="*/ 32 h 1470"/>
                  <a:gd name="T10" fmla="*/ 6 w 2138"/>
                  <a:gd name="T11" fmla="*/ 63 h 1470"/>
                  <a:gd name="T12" fmla="*/ 19 w 2138"/>
                  <a:gd name="T13" fmla="*/ 71 h 1470"/>
                  <a:gd name="T14" fmla="*/ 6 w 2138"/>
                  <a:gd name="T15" fmla="*/ 73 h 1470"/>
                  <a:gd name="T16" fmla="*/ 6 w 2138"/>
                  <a:gd name="T17" fmla="*/ 83 h 1470"/>
                  <a:gd name="T18" fmla="*/ 11 w 2138"/>
                  <a:gd name="T19" fmla="*/ 103 h 1470"/>
                  <a:gd name="T20" fmla="*/ 18 w 2138"/>
                  <a:gd name="T21" fmla="*/ 108 h 1470"/>
                  <a:gd name="T22" fmla="*/ 28 w 2138"/>
                  <a:gd name="T23" fmla="*/ 124 h 1470"/>
                  <a:gd name="T24" fmla="*/ 40 w 2138"/>
                  <a:gd name="T25" fmla="*/ 116 h 1470"/>
                  <a:gd name="T26" fmla="*/ 48 w 2138"/>
                  <a:gd name="T27" fmla="*/ 120 h 1470"/>
                  <a:gd name="T28" fmla="*/ 55 w 2138"/>
                  <a:gd name="T29" fmla="*/ 115 h 1470"/>
                  <a:gd name="T30" fmla="*/ 69 w 2138"/>
                  <a:gd name="T31" fmla="*/ 123 h 1470"/>
                  <a:gd name="T32" fmla="*/ 82 w 2138"/>
                  <a:gd name="T33" fmla="*/ 114 h 1470"/>
                  <a:gd name="T34" fmla="*/ 94 w 2138"/>
                  <a:gd name="T35" fmla="*/ 114 h 1470"/>
                  <a:gd name="T36" fmla="*/ 106 w 2138"/>
                  <a:gd name="T37" fmla="*/ 101 h 1470"/>
                  <a:gd name="T38" fmla="*/ 114 w 2138"/>
                  <a:gd name="T39" fmla="*/ 104 h 1470"/>
                  <a:gd name="T40" fmla="*/ 123 w 2138"/>
                  <a:gd name="T41" fmla="*/ 96 h 1470"/>
                  <a:gd name="T42" fmla="*/ 135 w 2138"/>
                  <a:gd name="T43" fmla="*/ 101 h 1470"/>
                  <a:gd name="T44" fmla="*/ 144 w 2138"/>
                  <a:gd name="T45" fmla="*/ 97 h 1470"/>
                  <a:gd name="T46" fmla="*/ 147 w 2138"/>
                  <a:gd name="T47" fmla="*/ 81 h 1470"/>
                  <a:gd name="T48" fmla="*/ 157 w 2138"/>
                  <a:gd name="T49" fmla="*/ 76 h 1470"/>
                  <a:gd name="T50" fmla="*/ 158 w 2138"/>
                  <a:gd name="T51" fmla="*/ 68 h 1470"/>
                  <a:gd name="T52" fmla="*/ 170 w 2138"/>
                  <a:gd name="T53" fmla="*/ 56 h 1470"/>
                  <a:gd name="T54" fmla="*/ 167 w 2138"/>
                  <a:gd name="T55" fmla="*/ 45 h 1470"/>
                  <a:gd name="T56" fmla="*/ 173 w 2138"/>
                  <a:gd name="T57" fmla="*/ 34 h 1470"/>
                  <a:gd name="T58" fmla="*/ 180 w 2138"/>
                  <a:gd name="T59" fmla="*/ 19 h 1470"/>
                  <a:gd name="T60" fmla="*/ 148 w 2138"/>
                  <a:gd name="T61" fmla="*/ 10 h 1470"/>
                  <a:gd name="T62" fmla="*/ 118 w 2138"/>
                  <a:gd name="T63" fmla="*/ 1 h 1470"/>
                  <a:gd name="T64" fmla="*/ 107 w 2138"/>
                  <a:gd name="T65" fmla="*/ 4 h 1470"/>
                  <a:gd name="T66" fmla="*/ 98 w 2138"/>
                  <a:gd name="T67" fmla="*/ 9 h 147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138" h="1470">
                    <a:moveTo>
                      <a:pt x="1158" y="104"/>
                    </a:moveTo>
                    <a:cubicBezTo>
                      <a:pt x="928" y="104"/>
                      <a:pt x="772" y="0"/>
                      <a:pt x="527" y="0"/>
                    </a:cubicBezTo>
                    <a:cubicBezTo>
                      <a:pt x="312" y="0"/>
                      <a:pt x="119" y="74"/>
                      <a:pt x="119" y="237"/>
                    </a:cubicBezTo>
                    <a:cubicBezTo>
                      <a:pt x="119" y="334"/>
                      <a:pt x="111" y="371"/>
                      <a:pt x="178" y="401"/>
                    </a:cubicBezTo>
                    <a:cubicBezTo>
                      <a:pt x="156" y="482"/>
                      <a:pt x="67" y="378"/>
                      <a:pt x="67" y="378"/>
                    </a:cubicBezTo>
                    <a:cubicBezTo>
                      <a:pt x="0" y="356"/>
                      <a:pt x="67" y="661"/>
                      <a:pt x="67" y="742"/>
                    </a:cubicBezTo>
                    <a:cubicBezTo>
                      <a:pt x="67" y="824"/>
                      <a:pt x="252" y="764"/>
                      <a:pt x="230" y="839"/>
                    </a:cubicBezTo>
                    <a:cubicBezTo>
                      <a:pt x="230" y="839"/>
                      <a:pt x="126" y="876"/>
                      <a:pt x="67" y="861"/>
                    </a:cubicBezTo>
                    <a:lnTo>
                      <a:pt x="67" y="987"/>
                    </a:lnTo>
                    <a:cubicBezTo>
                      <a:pt x="67" y="1054"/>
                      <a:pt x="104" y="1158"/>
                      <a:pt x="126" y="1225"/>
                    </a:cubicBezTo>
                    <a:cubicBezTo>
                      <a:pt x="156" y="1277"/>
                      <a:pt x="201" y="1247"/>
                      <a:pt x="208" y="1284"/>
                    </a:cubicBezTo>
                    <a:cubicBezTo>
                      <a:pt x="223" y="1358"/>
                      <a:pt x="252" y="1470"/>
                      <a:pt x="327" y="1470"/>
                    </a:cubicBezTo>
                    <a:cubicBezTo>
                      <a:pt x="416" y="1470"/>
                      <a:pt x="431" y="1373"/>
                      <a:pt x="475" y="1373"/>
                    </a:cubicBezTo>
                    <a:cubicBezTo>
                      <a:pt x="512" y="1373"/>
                      <a:pt x="512" y="1418"/>
                      <a:pt x="564" y="1418"/>
                    </a:cubicBezTo>
                    <a:cubicBezTo>
                      <a:pt x="624" y="1418"/>
                      <a:pt x="624" y="1388"/>
                      <a:pt x="646" y="1358"/>
                    </a:cubicBezTo>
                    <a:cubicBezTo>
                      <a:pt x="676" y="1410"/>
                      <a:pt x="757" y="1455"/>
                      <a:pt x="817" y="1455"/>
                    </a:cubicBezTo>
                    <a:cubicBezTo>
                      <a:pt x="913" y="1455"/>
                      <a:pt x="928" y="1351"/>
                      <a:pt x="973" y="1351"/>
                    </a:cubicBezTo>
                    <a:cubicBezTo>
                      <a:pt x="1032" y="1351"/>
                      <a:pt x="1032" y="1358"/>
                      <a:pt x="1106" y="1351"/>
                    </a:cubicBezTo>
                    <a:cubicBezTo>
                      <a:pt x="1106" y="1277"/>
                      <a:pt x="1181" y="1202"/>
                      <a:pt x="1255" y="1202"/>
                    </a:cubicBezTo>
                    <a:cubicBezTo>
                      <a:pt x="1299" y="1202"/>
                      <a:pt x="1322" y="1232"/>
                      <a:pt x="1351" y="1232"/>
                    </a:cubicBezTo>
                    <a:cubicBezTo>
                      <a:pt x="1381" y="1232"/>
                      <a:pt x="1448" y="1136"/>
                      <a:pt x="1448" y="1136"/>
                    </a:cubicBezTo>
                    <a:cubicBezTo>
                      <a:pt x="1492" y="1180"/>
                      <a:pt x="1529" y="1195"/>
                      <a:pt x="1589" y="1195"/>
                    </a:cubicBezTo>
                    <a:cubicBezTo>
                      <a:pt x="1648" y="1195"/>
                      <a:pt x="1663" y="1165"/>
                      <a:pt x="1700" y="1151"/>
                    </a:cubicBezTo>
                    <a:cubicBezTo>
                      <a:pt x="1663" y="1076"/>
                      <a:pt x="1737" y="995"/>
                      <a:pt x="1737" y="965"/>
                    </a:cubicBezTo>
                    <a:cubicBezTo>
                      <a:pt x="1737" y="898"/>
                      <a:pt x="1812" y="920"/>
                      <a:pt x="1856" y="898"/>
                    </a:cubicBezTo>
                    <a:cubicBezTo>
                      <a:pt x="1893" y="876"/>
                      <a:pt x="1871" y="839"/>
                      <a:pt x="1871" y="802"/>
                    </a:cubicBezTo>
                    <a:cubicBezTo>
                      <a:pt x="1893" y="735"/>
                      <a:pt x="2012" y="742"/>
                      <a:pt x="2012" y="668"/>
                    </a:cubicBezTo>
                    <a:cubicBezTo>
                      <a:pt x="2012" y="601"/>
                      <a:pt x="1990" y="586"/>
                      <a:pt x="1967" y="534"/>
                    </a:cubicBezTo>
                    <a:cubicBezTo>
                      <a:pt x="1990" y="527"/>
                      <a:pt x="2042" y="453"/>
                      <a:pt x="2042" y="408"/>
                    </a:cubicBezTo>
                    <a:cubicBezTo>
                      <a:pt x="2042" y="274"/>
                      <a:pt x="2138" y="341"/>
                      <a:pt x="2123" y="222"/>
                    </a:cubicBezTo>
                    <a:cubicBezTo>
                      <a:pt x="2108" y="59"/>
                      <a:pt x="1893" y="118"/>
                      <a:pt x="1745" y="118"/>
                    </a:cubicBezTo>
                    <a:cubicBezTo>
                      <a:pt x="1656" y="118"/>
                      <a:pt x="1477" y="15"/>
                      <a:pt x="1389" y="15"/>
                    </a:cubicBezTo>
                    <a:cubicBezTo>
                      <a:pt x="1329" y="15"/>
                      <a:pt x="1299" y="44"/>
                      <a:pt x="1262" y="44"/>
                    </a:cubicBezTo>
                    <a:cubicBezTo>
                      <a:pt x="1262" y="66"/>
                      <a:pt x="1188" y="104"/>
                      <a:pt x="1158" y="10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152"/>
              <p:cNvSpPr>
                <a:spLocks/>
              </p:cNvSpPr>
              <p:nvPr/>
            </p:nvSpPr>
            <p:spPr bwMode="auto">
              <a:xfrm>
                <a:off x="5882169" y="2099648"/>
                <a:ext cx="807636" cy="1085280"/>
              </a:xfrm>
              <a:custGeom>
                <a:avLst/>
                <a:gdLst>
                  <a:gd name="T0" fmla="*/ 157 w 5761"/>
                  <a:gd name="T1" fmla="*/ 651 h 7759"/>
                  <a:gd name="T2" fmla="*/ 133 w 5761"/>
                  <a:gd name="T3" fmla="*/ 607 h 7759"/>
                  <a:gd name="T4" fmla="*/ 101 w 5761"/>
                  <a:gd name="T5" fmla="*/ 565 h 7759"/>
                  <a:gd name="T6" fmla="*/ 117 w 5761"/>
                  <a:gd name="T7" fmla="*/ 524 h 7759"/>
                  <a:gd name="T8" fmla="*/ 128 w 5761"/>
                  <a:gd name="T9" fmla="*/ 486 h 7759"/>
                  <a:gd name="T10" fmla="*/ 83 w 5761"/>
                  <a:gd name="T11" fmla="*/ 464 h 7759"/>
                  <a:gd name="T12" fmla="*/ 62 w 5761"/>
                  <a:gd name="T13" fmla="*/ 440 h 7759"/>
                  <a:gd name="T14" fmla="*/ 70 w 5761"/>
                  <a:gd name="T15" fmla="*/ 417 h 7759"/>
                  <a:gd name="T16" fmla="*/ 58 w 5761"/>
                  <a:gd name="T17" fmla="*/ 306 h 7759"/>
                  <a:gd name="T18" fmla="*/ 0 w 5761"/>
                  <a:gd name="T19" fmla="*/ 283 h 7759"/>
                  <a:gd name="T20" fmla="*/ 61 w 5761"/>
                  <a:gd name="T21" fmla="*/ 245 h 7759"/>
                  <a:gd name="T22" fmla="*/ 101 w 5761"/>
                  <a:gd name="T23" fmla="*/ 197 h 7759"/>
                  <a:gd name="T24" fmla="*/ 139 w 5761"/>
                  <a:gd name="T25" fmla="*/ 124 h 7759"/>
                  <a:gd name="T26" fmla="*/ 171 w 5761"/>
                  <a:gd name="T27" fmla="*/ 52 h 7759"/>
                  <a:gd name="T28" fmla="*/ 178 w 5761"/>
                  <a:gd name="T29" fmla="*/ 0 h 7759"/>
                  <a:gd name="T30" fmla="*/ 198 w 5761"/>
                  <a:gd name="T31" fmla="*/ 8 h 7759"/>
                  <a:gd name="T32" fmla="*/ 210 w 5761"/>
                  <a:gd name="T33" fmla="*/ 14 h 7759"/>
                  <a:gd name="T34" fmla="*/ 224 w 5761"/>
                  <a:gd name="T35" fmla="*/ 21 h 7759"/>
                  <a:gd name="T36" fmla="*/ 243 w 5761"/>
                  <a:gd name="T37" fmla="*/ 33 h 7759"/>
                  <a:gd name="T38" fmla="*/ 292 w 5761"/>
                  <a:gd name="T39" fmla="*/ 69 h 7759"/>
                  <a:gd name="T40" fmla="*/ 296 w 5761"/>
                  <a:gd name="T41" fmla="*/ 99 h 7759"/>
                  <a:gd name="T42" fmla="*/ 297 w 5761"/>
                  <a:gd name="T43" fmla="*/ 125 h 7759"/>
                  <a:gd name="T44" fmla="*/ 313 w 5761"/>
                  <a:gd name="T45" fmla="*/ 96 h 7759"/>
                  <a:gd name="T46" fmla="*/ 364 w 5761"/>
                  <a:gd name="T47" fmla="*/ 109 h 7759"/>
                  <a:gd name="T48" fmla="*/ 459 w 5761"/>
                  <a:gd name="T49" fmla="*/ 132 h 7759"/>
                  <a:gd name="T50" fmla="*/ 489 w 5761"/>
                  <a:gd name="T51" fmla="*/ 128 h 7759"/>
                  <a:gd name="T52" fmla="*/ 454 w 5761"/>
                  <a:gd name="T53" fmla="*/ 174 h 7759"/>
                  <a:gd name="T54" fmla="*/ 422 w 5761"/>
                  <a:gd name="T55" fmla="*/ 206 h 7759"/>
                  <a:gd name="T56" fmla="*/ 407 w 5761"/>
                  <a:gd name="T57" fmla="*/ 248 h 7759"/>
                  <a:gd name="T58" fmla="*/ 411 w 5761"/>
                  <a:gd name="T59" fmla="*/ 296 h 7759"/>
                  <a:gd name="T60" fmla="*/ 406 w 5761"/>
                  <a:gd name="T61" fmla="*/ 384 h 7759"/>
                  <a:gd name="T62" fmla="*/ 331 w 5761"/>
                  <a:gd name="T63" fmla="*/ 406 h 7759"/>
                  <a:gd name="T64" fmla="*/ 277 w 5761"/>
                  <a:gd name="T65" fmla="*/ 446 h 7759"/>
                  <a:gd name="T66" fmla="*/ 207 w 5761"/>
                  <a:gd name="T67" fmla="*/ 504 h 7759"/>
                  <a:gd name="T68" fmla="*/ 176 w 5761"/>
                  <a:gd name="T69" fmla="*/ 560 h 7759"/>
                  <a:gd name="T70" fmla="*/ 184 w 5761"/>
                  <a:gd name="T71" fmla="*/ 632 h 775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761" h="7759">
                    <a:moveTo>
                      <a:pt x="2012" y="7759"/>
                    </a:moveTo>
                    <a:cubicBezTo>
                      <a:pt x="1975" y="7729"/>
                      <a:pt x="1930" y="7692"/>
                      <a:pt x="1849" y="7692"/>
                    </a:cubicBezTo>
                    <a:cubicBezTo>
                      <a:pt x="1611" y="7692"/>
                      <a:pt x="1648" y="7439"/>
                      <a:pt x="1529" y="7365"/>
                    </a:cubicBezTo>
                    <a:cubicBezTo>
                      <a:pt x="1477" y="7343"/>
                      <a:pt x="1537" y="7194"/>
                      <a:pt x="1566" y="7165"/>
                    </a:cubicBezTo>
                    <a:cubicBezTo>
                      <a:pt x="1641" y="7031"/>
                      <a:pt x="1344" y="7083"/>
                      <a:pt x="1329" y="6868"/>
                    </a:cubicBezTo>
                    <a:cubicBezTo>
                      <a:pt x="1329" y="6637"/>
                      <a:pt x="1195" y="6756"/>
                      <a:pt x="1195" y="6675"/>
                    </a:cubicBezTo>
                    <a:cubicBezTo>
                      <a:pt x="1195" y="6548"/>
                      <a:pt x="1292" y="6556"/>
                      <a:pt x="1314" y="6445"/>
                    </a:cubicBezTo>
                    <a:cubicBezTo>
                      <a:pt x="1329" y="6385"/>
                      <a:pt x="1321" y="6251"/>
                      <a:pt x="1381" y="6192"/>
                    </a:cubicBezTo>
                    <a:cubicBezTo>
                      <a:pt x="1485" y="6088"/>
                      <a:pt x="1670" y="6318"/>
                      <a:pt x="1670" y="5888"/>
                    </a:cubicBezTo>
                    <a:cubicBezTo>
                      <a:pt x="1670" y="5799"/>
                      <a:pt x="1626" y="5739"/>
                      <a:pt x="1507" y="5739"/>
                    </a:cubicBezTo>
                    <a:cubicBezTo>
                      <a:pt x="1388" y="5739"/>
                      <a:pt x="1218" y="5813"/>
                      <a:pt x="1173" y="5776"/>
                    </a:cubicBezTo>
                    <a:cubicBezTo>
                      <a:pt x="1136" y="5754"/>
                      <a:pt x="995" y="5606"/>
                      <a:pt x="972" y="5479"/>
                    </a:cubicBezTo>
                    <a:cubicBezTo>
                      <a:pt x="935" y="5368"/>
                      <a:pt x="824" y="5375"/>
                      <a:pt x="809" y="5368"/>
                    </a:cubicBezTo>
                    <a:cubicBezTo>
                      <a:pt x="653" y="5264"/>
                      <a:pt x="921" y="5286"/>
                      <a:pt x="735" y="5197"/>
                    </a:cubicBezTo>
                    <a:cubicBezTo>
                      <a:pt x="720" y="5197"/>
                      <a:pt x="586" y="5175"/>
                      <a:pt x="646" y="5108"/>
                    </a:cubicBezTo>
                    <a:cubicBezTo>
                      <a:pt x="683" y="4982"/>
                      <a:pt x="809" y="5049"/>
                      <a:pt x="824" y="4923"/>
                    </a:cubicBezTo>
                    <a:cubicBezTo>
                      <a:pt x="876" y="4581"/>
                      <a:pt x="898" y="4388"/>
                      <a:pt x="898" y="4069"/>
                    </a:cubicBezTo>
                    <a:cubicBezTo>
                      <a:pt x="898" y="3794"/>
                      <a:pt x="727" y="3616"/>
                      <a:pt x="683" y="3616"/>
                    </a:cubicBezTo>
                    <a:cubicBezTo>
                      <a:pt x="468" y="3594"/>
                      <a:pt x="616" y="3401"/>
                      <a:pt x="304" y="3438"/>
                    </a:cubicBezTo>
                    <a:cubicBezTo>
                      <a:pt x="193" y="3438"/>
                      <a:pt x="97" y="3378"/>
                      <a:pt x="0" y="3341"/>
                    </a:cubicBezTo>
                    <a:cubicBezTo>
                      <a:pt x="119" y="3245"/>
                      <a:pt x="490" y="2948"/>
                      <a:pt x="549" y="2933"/>
                    </a:cubicBezTo>
                    <a:cubicBezTo>
                      <a:pt x="653" y="2896"/>
                      <a:pt x="601" y="2933"/>
                      <a:pt x="720" y="2888"/>
                    </a:cubicBezTo>
                    <a:cubicBezTo>
                      <a:pt x="794" y="2874"/>
                      <a:pt x="906" y="2636"/>
                      <a:pt x="972" y="2577"/>
                    </a:cubicBezTo>
                    <a:cubicBezTo>
                      <a:pt x="1114" y="2421"/>
                      <a:pt x="1054" y="2376"/>
                      <a:pt x="1195" y="2324"/>
                    </a:cubicBezTo>
                    <a:cubicBezTo>
                      <a:pt x="1306" y="2272"/>
                      <a:pt x="1151" y="1990"/>
                      <a:pt x="1507" y="1775"/>
                    </a:cubicBezTo>
                    <a:cubicBezTo>
                      <a:pt x="1596" y="1723"/>
                      <a:pt x="1633" y="1463"/>
                      <a:pt x="1633" y="1463"/>
                    </a:cubicBezTo>
                    <a:cubicBezTo>
                      <a:pt x="1559" y="1166"/>
                      <a:pt x="1841" y="1322"/>
                      <a:pt x="1826" y="929"/>
                    </a:cubicBezTo>
                    <a:cubicBezTo>
                      <a:pt x="1819" y="884"/>
                      <a:pt x="1915" y="951"/>
                      <a:pt x="2012" y="617"/>
                    </a:cubicBezTo>
                    <a:cubicBezTo>
                      <a:pt x="2034" y="528"/>
                      <a:pt x="1900" y="535"/>
                      <a:pt x="1997" y="416"/>
                    </a:cubicBezTo>
                    <a:cubicBezTo>
                      <a:pt x="2071" y="327"/>
                      <a:pt x="2079" y="67"/>
                      <a:pt x="2101" y="0"/>
                    </a:cubicBezTo>
                    <a:cubicBezTo>
                      <a:pt x="2190" y="30"/>
                      <a:pt x="2220" y="90"/>
                      <a:pt x="2272" y="127"/>
                    </a:cubicBezTo>
                    <a:lnTo>
                      <a:pt x="2331" y="90"/>
                    </a:lnTo>
                    <a:cubicBezTo>
                      <a:pt x="2383" y="67"/>
                      <a:pt x="2368" y="142"/>
                      <a:pt x="2376" y="164"/>
                    </a:cubicBezTo>
                    <a:cubicBezTo>
                      <a:pt x="2428" y="135"/>
                      <a:pt x="2405" y="90"/>
                      <a:pt x="2472" y="164"/>
                    </a:cubicBezTo>
                    <a:cubicBezTo>
                      <a:pt x="2509" y="179"/>
                      <a:pt x="2524" y="246"/>
                      <a:pt x="2524" y="246"/>
                    </a:cubicBezTo>
                    <a:cubicBezTo>
                      <a:pt x="2598" y="231"/>
                      <a:pt x="2598" y="246"/>
                      <a:pt x="2643" y="246"/>
                    </a:cubicBezTo>
                    <a:cubicBezTo>
                      <a:pt x="2769" y="246"/>
                      <a:pt x="2621" y="639"/>
                      <a:pt x="2791" y="543"/>
                    </a:cubicBezTo>
                    <a:cubicBezTo>
                      <a:pt x="2836" y="513"/>
                      <a:pt x="2865" y="446"/>
                      <a:pt x="2865" y="387"/>
                    </a:cubicBezTo>
                    <a:cubicBezTo>
                      <a:pt x="3014" y="349"/>
                      <a:pt x="2999" y="431"/>
                      <a:pt x="3081" y="431"/>
                    </a:cubicBezTo>
                    <a:cubicBezTo>
                      <a:pt x="3133" y="431"/>
                      <a:pt x="3274" y="594"/>
                      <a:pt x="3444" y="817"/>
                    </a:cubicBezTo>
                    <a:cubicBezTo>
                      <a:pt x="3526" y="914"/>
                      <a:pt x="3185" y="1137"/>
                      <a:pt x="3333" y="1129"/>
                    </a:cubicBezTo>
                    <a:cubicBezTo>
                      <a:pt x="3563" y="713"/>
                      <a:pt x="3556" y="1240"/>
                      <a:pt x="3489" y="1173"/>
                    </a:cubicBezTo>
                    <a:cubicBezTo>
                      <a:pt x="3467" y="1315"/>
                      <a:pt x="3370" y="1344"/>
                      <a:pt x="3348" y="1478"/>
                    </a:cubicBezTo>
                    <a:cubicBezTo>
                      <a:pt x="3385" y="1522"/>
                      <a:pt x="3444" y="1381"/>
                      <a:pt x="3504" y="1478"/>
                    </a:cubicBezTo>
                    <a:cubicBezTo>
                      <a:pt x="3489" y="1582"/>
                      <a:pt x="3474" y="1634"/>
                      <a:pt x="3489" y="1693"/>
                    </a:cubicBezTo>
                    <a:cubicBezTo>
                      <a:pt x="3623" y="1775"/>
                      <a:pt x="3504" y="1114"/>
                      <a:pt x="3682" y="1137"/>
                    </a:cubicBezTo>
                    <a:cubicBezTo>
                      <a:pt x="3816" y="1077"/>
                      <a:pt x="3660" y="1441"/>
                      <a:pt x="3771" y="1441"/>
                    </a:cubicBezTo>
                    <a:cubicBezTo>
                      <a:pt x="3935" y="1441"/>
                      <a:pt x="3860" y="1248"/>
                      <a:pt x="4283" y="1285"/>
                    </a:cubicBezTo>
                    <a:cubicBezTo>
                      <a:pt x="4454" y="1307"/>
                      <a:pt x="4157" y="1166"/>
                      <a:pt x="4529" y="1173"/>
                    </a:cubicBezTo>
                    <a:cubicBezTo>
                      <a:pt x="4781" y="1188"/>
                      <a:pt x="5256" y="1612"/>
                      <a:pt x="5404" y="1560"/>
                    </a:cubicBezTo>
                    <a:cubicBezTo>
                      <a:pt x="5404" y="1560"/>
                      <a:pt x="5560" y="1619"/>
                      <a:pt x="5664" y="1560"/>
                    </a:cubicBezTo>
                    <a:cubicBezTo>
                      <a:pt x="5701" y="1545"/>
                      <a:pt x="5724" y="1515"/>
                      <a:pt x="5761" y="1515"/>
                    </a:cubicBezTo>
                    <a:cubicBezTo>
                      <a:pt x="5761" y="1552"/>
                      <a:pt x="5754" y="1619"/>
                      <a:pt x="5754" y="1619"/>
                    </a:cubicBezTo>
                    <a:cubicBezTo>
                      <a:pt x="5754" y="1775"/>
                      <a:pt x="5494" y="2020"/>
                      <a:pt x="5345" y="2057"/>
                    </a:cubicBezTo>
                    <a:cubicBezTo>
                      <a:pt x="5249" y="2079"/>
                      <a:pt x="5204" y="2087"/>
                      <a:pt x="5152" y="2109"/>
                    </a:cubicBezTo>
                    <a:cubicBezTo>
                      <a:pt x="4974" y="2161"/>
                      <a:pt x="5056" y="2347"/>
                      <a:pt x="4974" y="2428"/>
                    </a:cubicBezTo>
                    <a:cubicBezTo>
                      <a:pt x="4862" y="2539"/>
                      <a:pt x="4759" y="2554"/>
                      <a:pt x="4759" y="2703"/>
                    </a:cubicBezTo>
                    <a:cubicBezTo>
                      <a:pt x="4759" y="2777"/>
                      <a:pt x="4796" y="2851"/>
                      <a:pt x="4796" y="2933"/>
                    </a:cubicBezTo>
                    <a:cubicBezTo>
                      <a:pt x="4796" y="3007"/>
                      <a:pt x="4744" y="3037"/>
                      <a:pt x="4744" y="3104"/>
                    </a:cubicBezTo>
                    <a:cubicBezTo>
                      <a:pt x="4744" y="3237"/>
                      <a:pt x="4840" y="3334"/>
                      <a:pt x="4840" y="3490"/>
                    </a:cubicBezTo>
                    <a:cubicBezTo>
                      <a:pt x="4840" y="3794"/>
                      <a:pt x="4580" y="3772"/>
                      <a:pt x="4580" y="4069"/>
                    </a:cubicBezTo>
                    <a:cubicBezTo>
                      <a:pt x="4580" y="4358"/>
                      <a:pt x="4788" y="4351"/>
                      <a:pt x="4788" y="4537"/>
                    </a:cubicBezTo>
                    <a:cubicBezTo>
                      <a:pt x="4788" y="4796"/>
                      <a:pt x="4721" y="4893"/>
                      <a:pt x="4425" y="4893"/>
                    </a:cubicBezTo>
                    <a:cubicBezTo>
                      <a:pt x="4291" y="4893"/>
                      <a:pt x="4038" y="4796"/>
                      <a:pt x="3898" y="4796"/>
                    </a:cubicBezTo>
                    <a:cubicBezTo>
                      <a:pt x="3727" y="4796"/>
                      <a:pt x="3652" y="4967"/>
                      <a:pt x="3578" y="5049"/>
                    </a:cubicBezTo>
                    <a:cubicBezTo>
                      <a:pt x="3497" y="5123"/>
                      <a:pt x="3378" y="5249"/>
                      <a:pt x="3259" y="5264"/>
                    </a:cubicBezTo>
                    <a:cubicBezTo>
                      <a:pt x="3007" y="5294"/>
                      <a:pt x="3081" y="5442"/>
                      <a:pt x="2828" y="5442"/>
                    </a:cubicBezTo>
                    <a:cubicBezTo>
                      <a:pt x="2450" y="5442"/>
                      <a:pt x="2494" y="5799"/>
                      <a:pt x="2435" y="5947"/>
                    </a:cubicBezTo>
                    <a:cubicBezTo>
                      <a:pt x="2376" y="6111"/>
                      <a:pt x="2294" y="6103"/>
                      <a:pt x="2279" y="6296"/>
                    </a:cubicBezTo>
                    <a:cubicBezTo>
                      <a:pt x="2257" y="6497"/>
                      <a:pt x="2064" y="6437"/>
                      <a:pt x="2079" y="6615"/>
                    </a:cubicBezTo>
                    <a:cubicBezTo>
                      <a:pt x="2064" y="6838"/>
                      <a:pt x="2182" y="6949"/>
                      <a:pt x="2205" y="7068"/>
                    </a:cubicBezTo>
                    <a:lnTo>
                      <a:pt x="2168" y="7462"/>
                    </a:lnTo>
                    <a:cubicBezTo>
                      <a:pt x="2190" y="7588"/>
                      <a:pt x="2034" y="7655"/>
                      <a:pt x="2012" y="7759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153"/>
              <p:cNvSpPr>
                <a:spLocks/>
              </p:cNvSpPr>
              <p:nvPr/>
            </p:nvSpPr>
            <p:spPr bwMode="auto">
              <a:xfrm>
                <a:off x="5159834" y="4632874"/>
                <a:ext cx="736617" cy="490606"/>
              </a:xfrm>
              <a:custGeom>
                <a:avLst/>
                <a:gdLst>
                  <a:gd name="T0" fmla="*/ 62 w 5263"/>
                  <a:gd name="T1" fmla="*/ 264 h 3512"/>
                  <a:gd name="T2" fmla="*/ 77 w 5263"/>
                  <a:gd name="T3" fmla="*/ 267 h 3512"/>
                  <a:gd name="T4" fmla="*/ 105 w 5263"/>
                  <a:gd name="T5" fmla="*/ 272 h 3512"/>
                  <a:gd name="T6" fmla="*/ 123 w 5263"/>
                  <a:gd name="T7" fmla="*/ 272 h 3512"/>
                  <a:gd name="T8" fmla="*/ 167 w 5263"/>
                  <a:gd name="T9" fmla="*/ 286 h 3512"/>
                  <a:gd name="T10" fmla="*/ 208 w 5263"/>
                  <a:gd name="T11" fmla="*/ 295 h 3512"/>
                  <a:gd name="T12" fmla="*/ 226 w 5263"/>
                  <a:gd name="T13" fmla="*/ 294 h 3512"/>
                  <a:gd name="T14" fmla="*/ 226 w 5263"/>
                  <a:gd name="T15" fmla="*/ 278 h 3512"/>
                  <a:gd name="T16" fmla="*/ 259 w 5263"/>
                  <a:gd name="T17" fmla="*/ 264 h 3512"/>
                  <a:gd name="T18" fmla="*/ 270 w 5263"/>
                  <a:gd name="T19" fmla="*/ 252 h 3512"/>
                  <a:gd name="T20" fmla="*/ 286 w 5263"/>
                  <a:gd name="T21" fmla="*/ 254 h 3512"/>
                  <a:gd name="T22" fmla="*/ 308 w 5263"/>
                  <a:gd name="T23" fmla="*/ 252 h 3512"/>
                  <a:gd name="T24" fmla="*/ 337 w 5263"/>
                  <a:gd name="T25" fmla="*/ 267 h 3512"/>
                  <a:gd name="T26" fmla="*/ 364 w 5263"/>
                  <a:gd name="T27" fmla="*/ 251 h 3512"/>
                  <a:gd name="T28" fmla="*/ 411 w 5263"/>
                  <a:gd name="T29" fmla="*/ 250 h 3512"/>
                  <a:gd name="T30" fmla="*/ 422 w 5263"/>
                  <a:gd name="T31" fmla="*/ 232 h 3512"/>
                  <a:gd name="T32" fmla="*/ 404 w 5263"/>
                  <a:gd name="T33" fmla="*/ 217 h 3512"/>
                  <a:gd name="T34" fmla="*/ 413 w 5263"/>
                  <a:gd name="T35" fmla="*/ 206 h 3512"/>
                  <a:gd name="T36" fmla="*/ 418 w 5263"/>
                  <a:gd name="T37" fmla="*/ 219 h 3512"/>
                  <a:gd name="T38" fmla="*/ 442 w 5263"/>
                  <a:gd name="T39" fmla="*/ 200 h 3512"/>
                  <a:gd name="T40" fmla="*/ 411 w 5263"/>
                  <a:gd name="T41" fmla="*/ 178 h 3512"/>
                  <a:gd name="T42" fmla="*/ 401 w 5263"/>
                  <a:gd name="T43" fmla="*/ 186 h 3512"/>
                  <a:gd name="T44" fmla="*/ 401 w 5263"/>
                  <a:gd name="T45" fmla="*/ 174 h 3512"/>
                  <a:gd name="T46" fmla="*/ 408 w 5263"/>
                  <a:gd name="T47" fmla="*/ 161 h 3512"/>
                  <a:gd name="T48" fmla="*/ 391 w 5263"/>
                  <a:gd name="T49" fmla="*/ 154 h 3512"/>
                  <a:gd name="T50" fmla="*/ 360 w 5263"/>
                  <a:gd name="T51" fmla="*/ 154 h 3512"/>
                  <a:gd name="T52" fmla="*/ 354 w 5263"/>
                  <a:gd name="T53" fmla="*/ 146 h 3512"/>
                  <a:gd name="T54" fmla="*/ 362 w 5263"/>
                  <a:gd name="T55" fmla="*/ 134 h 3512"/>
                  <a:gd name="T56" fmla="*/ 338 w 5263"/>
                  <a:gd name="T57" fmla="*/ 96 h 3512"/>
                  <a:gd name="T58" fmla="*/ 316 w 5263"/>
                  <a:gd name="T59" fmla="*/ 28 h 3512"/>
                  <a:gd name="T60" fmla="*/ 259 w 5263"/>
                  <a:gd name="T61" fmla="*/ 25 h 3512"/>
                  <a:gd name="T62" fmla="*/ 223 w 5263"/>
                  <a:gd name="T63" fmla="*/ 6 h 3512"/>
                  <a:gd name="T64" fmla="*/ 207 w 5263"/>
                  <a:gd name="T65" fmla="*/ 10 h 3512"/>
                  <a:gd name="T66" fmla="*/ 176 w 5263"/>
                  <a:gd name="T67" fmla="*/ 0 h 3512"/>
                  <a:gd name="T68" fmla="*/ 109 w 5263"/>
                  <a:gd name="T69" fmla="*/ 1 h 3512"/>
                  <a:gd name="T70" fmla="*/ 86 w 5263"/>
                  <a:gd name="T71" fmla="*/ 16 h 3512"/>
                  <a:gd name="T72" fmla="*/ 63 w 5263"/>
                  <a:gd name="T73" fmla="*/ 50 h 3512"/>
                  <a:gd name="T74" fmla="*/ 47 w 5263"/>
                  <a:gd name="T75" fmla="*/ 65 h 3512"/>
                  <a:gd name="T76" fmla="*/ 40 w 5263"/>
                  <a:gd name="T77" fmla="*/ 98 h 3512"/>
                  <a:gd name="T78" fmla="*/ 23 w 5263"/>
                  <a:gd name="T79" fmla="*/ 111 h 3512"/>
                  <a:gd name="T80" fmla="*/ 23 w 5263"/>
                  <a:gd name="T81" fmla="*/ 128 h 3512"/>
                  <a:gd name="T82" fmla="*/ 23 w 5263"/>
                  <a:gd name="T83" fmla="*/ 151 h 3512"/>
                  <a:gd name="T84" fmla="*/ 9 w 5263"/>
                  <a:gd name="T85" fmla="*/ 203 h 3512"/>
                  <a:gd name="T86" fmla="*/ 5 w 5263"/>
                  <a:gd name="T87" fmla="*/ 227 h 3512"/>
                  <a:gd name="T88" fmla="*/ 38 w 5263"/>
                  <a:gd name="T89" fmla="*/ 219 h 3512"/>
                  <a:gd name="T90" fmla="*/ 62 w 5263"/>
                  <a:gd name="T91" fmla="*/ 264 h 351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263" h="3512">
                    <a:moveTo>
                      <a:pt x="727" y="3125"/>
                    </a:moveTo>
                    <a:cubicBezTo>
                      <a:pt x="765" y="3163"/>
                      <a:pt x="794" y="3207"/>
                      <a:pt x="906" y="3163"/>
                    </a:cubicBezTo>
                    <a:cubicBezTo>
                      <a:pt x="980" y="3140"/>
                      <a:pt x="1195" y="3177"/>
                      <a:pt x="1240" y="3215"/>
                    </a:cubicBezTo>
                    <a:cubicBezTo>
                      <a:pt x="1344" y="3296"/>
                      <a:pt x="1403" y="3200"/>
                      <a:pt x="1447" y="3215"/>
                    </a:cubicBezTo>
                    <a:cubicBezTo>
                      <a:pt x="1611" y="3304"/>
                      <a:pt x="1863" y="3259"/>
                      <a:pt x="1975" y="3378"/>
                    </a:cubicBezTo>
                    <a:cubicBezTo>
                      <a:pt x="2086" y="3512"/>
                      <a:pt x="2390" y="3415"/>
                      <a:pt x="2457" y="3489"/>
                    </a:cubicBezTo>
                    <a:cubicBezTo>
                      <a:pt x="2487" y="3497"/>
                      <a:pt x="2561" y="3489"/>
                      <a:pt x="2665" y="3482"/>
                    </a:cubicBezTo>
                    <a:cubicBezTo>
                      <a:pt x="2643" y="3408"/>
                      <a:pt x="2665" y="3378"/>
                      <a:pt x="2665" y="3289"/>
                    </a:cubicBezTo>
                    <a:cubicBezTo>
                      <a:pt x="2665" y="3081"/>
                      <a:pt x="2947" y="3192"/>
                      <a:pt x="3058" y="3118"/>
                    </a:cubicBezTo>
                    <a:cubicBezTo>
                      <a:pt x="3096" y="3096"/>
                      <a:pt x="3103" y="2977"/>
                      <a:pt x="3185" y="2977"/>
                    </a:cubicBezTo>
                    <a:cubicBezTo>
                      <a:pt x="3259" y="2977"/>
                      <a:pt x="3289" y="2999"/>
                      <a:pt x="3370" y="2999"/>
                    </a:cubicBezTo>
                    <a:cubicBezTo>
                      <a:pt x="3467" y="2999"/>
                      <a:pt x="3541" y="2999"/>
                      <a:pt x="3630" y="2977"/>
                    </a:cubicBezTo>
                    <a:cubicBezTo>
                      <a:pt x="3816" y="2925"/>
                      <a:pt x="3830" y="3163"/>
                      <a:pt x="3979" y="3163"/>
                    </a:cubicBezTo>
                    <a:cubicBezTo>
                      <a:pt x="4076" y="3163"/>
                      <a:pt x="4150" y="2985"/>
                      <a:pt x="4291" y="2970"/>
                    </a:cubicBezTo>
                    <a:cubicBezTo>
                      <a:pt x="4447" y="2970"/>
                      <a:pt x="4699" y="2985"/>
                      <a:pt x="4847" y="2962"/>
                    </a:cubicBezTo>
                    <a:cubicBezTo>
                      <a:pt x="4862" y="2888"/>
                      <a:pt x="4943" y="2829"/>
                      <a:pt x="4981" y="2740"/>
                    </a:cubicBezTo>
                    <a:cubicBezTo>
                      <a:pt x="5025" y="2628"/>
                      <a:pt x="4728" y="2784"/>
                      <a:pt x="4765" y="2561"/>
                    </a:cubicBezTo>
                    <a:cubicBezTo>
                      <a:pt x="4921" y="2680"/>
                      <a:pt x="4781" y="2391"/>
                      <a:pt x="4877" y="2435"/>
                    </a:cubicBezTo>
                    <a:cubicBezTo>
                      <a:pt x="5078" y="2465"/>
                      <a:pt x="4877" y="2546"/>
                      <a:pt x="4937" y="2591"/>
                    </a:cubicBezTo>
                    <a:cubicBezTo>
                      <a:pt x="5063" y="2554"/>
                      <a:pt x="5263" y="2368"/>
                      <a:pt x="5211" y="2368"/>
                    </a:cubicBezTo>
                    <a:cubicBezTo>
                      <a:pt x="4996" y="2368"/>
                      <a:pt x="5056" y="2131"/>
                      <a:pt x="4848" y="2101"/>
                    </a:cubicBezTo>
                    <a:cubicBezTo>
                      <a:pt x="4833" y="2160"/>
                      <a:pt x="4788" y="2205"/>
                      <a:pt x="4736" y="2205"/>
                    </a:cubicBezTo>
                    <a:lnTo>
                      <a:pt x="4736" y="2057"/>
                    </a:lnTo>
                    <a:cubicBezTo>
                      <a:pt x="4796" y="2004"/>
                      <a:pt x="4803" y="1997"/>
                      <a:pt x="4811" y="1908"/>
                    </a:cubicBezTo>
                    <a:cubicBezTo>
                      <a:pt x="4736" y="1871"/>
                      <a:pt x="4677" y="1871"/>
                      <a:pt x="4610" y="1826"/>
                    </a:cubicBezTo>
                    <a:lnTo>
                      <a:pt x="4254" y="1826"/>
                    </a:lnTo>
                    <a:cubicBezTo>
                      <a:pt x="4217" y="1804"/>
                      <a:pt x="4172" y="1774"/>
                      <a:pt x="4172" y="1730"/>
                    </a:cubicBezTo>
                    <a:cubicBezTo>
                      <a:pt x="4172" y="1693"/>
                      <a:pt x="4254" y="1604"/>
                      <a:pt x="4276" y="1589"/>
                    </a:cubicBezTo>
                    <a:cubicBezTo>
                      <a:pt x="4231" y="1522"/>
                      <a:pt x="3986" y="1180"/>
                      <a:pt x="3986" y="1136"/>
                    </a:cubicBezTo>
                    <a:cubicBezTo>
                      <a:pt x="3986" y="846"/>
                      <a:pt x="4038" y="482"/>
                      <a:pt x="3727" y="334"/>
                    </a:cubicBezTo>
                    <a:cubicBezTo>
                      <a:pt x="3496" y="223"/>
                      <a:pt x="3311" y="349"/>
                      <a:pt x="3058" y="297"/>
                    </a:cubicBezTo>
                    <a:cubicBezTo>
                      <a:pt x="2932" y="275"/>
                      <a:pt x="2754" y="74"/>
                      <a:pt x="2628" y="74"/>
                    </a:cubicBezTo>
                    <a:cubicBezTo>
                      <a:pt x="2561" y="74"/>
                      <a:pt x="2509" y="119"/>
                      <a:pt x="2442" y="119"/>
                    </a:cubicBezTo>
                    <a:cubicBezTo>
                      <a:pt x="2287" y="119"/>
                      <a:pt x="2197" y="0"/>
                      <a:pt x="2079" y="0"/>
                    </a:cubicBezTo>
                    <a:cubicBezTo>
                      <a:pt x="1893" y="0"/>
                      <a:pt x="1589" y="59"/>
                      <a:pt x="1292" y="15"/>
                    </a:cubicBezTo>
                    <a:cubicBezTo>
                      <a:pt x="1240" y="82"/>
                      <a:pt x="1166" y="141"/>
                      <a:pt x="1009" y="193"/>
                    </a:cubicBezTo>
                    <a:cubicBezTo>
                      <a:pt x="816" y="260"/>
                      <a:pt x="816" y="379"/>
                      <a:pt x="742" y="587"/>
                    </a:cubicBezTo>
                    <a:cubicBezTo>
                      <a:pt x="720" y="676"/>
                      <a:pt x="623" y="668"/>
                      <a:pt x="557" y="765"/>
                    </a:cubicBezTo>
                    <a:cubicBezTo>
                      <a:pt x="490" y="869"/>
                      <a:pt x="512" y="1039"/>
                      <a:pt x="475" y="1158"/>
                    </a:cubicBezTo>
                    <a:cubicBezTo>
                      <a:pt x="445" y="1255"/>
                      <a:pt x="341" y="1232"/>
                      <a:pt x="275" y="1314"/>
                    </a:cubicBezTo>
                    <a:cubicBezTo>
                      <a:pt x="275" y="1314"/>
                      <a:pt x="215" y="1411"/>
                      <a:pt x="275" y="1515"/>
                    </a:cubicBezTo>
                    <a:cubicBezTo>
                      <a:pt x="371" y="1626"/>
                      <a:pt x="275" y="1700"/>
                      <a:pt x="267" y="1789"/>
                    </a:cubicBezTo>
                    <a:cubicBezTo>
                      <a:pt x="178" y="2435"/>
                      <a:pt x="178" y="2353"/>
                      <a:pt x="104" y="2405"/>
                    </a:cubicBezTo>
                    <a:cubicBezTo>
                      <a:pt x="0" y="2480"/>
                      <a:pt x="22" y="2665"/>
                      <a:pt x="59" y="2680"/>
                    </a:cubicBezTo>
                    <a:cubicBezTo>
                      <a:pt x="141" y="2717"/>
                      <a:pt x="238" y="2576"/>
                      <a:pt x="453" y="2591"/>
                    </a:cubicBezTo>
                    <a:cubicBezTo>
                      <a:pt x="542" y="2606"/>
                      <a:pt x="683" y="2925"/>
                      <a:pt x="727" y="3125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154"/>
              <p:cNvSpPr>
                <a:spLocks/>
              </p:cNvSpPr>
              <p:nvPr/>
            </p:nvSpPr>
            <p:spPr bwMode="auto">
              <a:xfrm>
                <a:off x="2866334" y="1678420"/>
                <a:ext cx="2064510" cy="1476774"/>
              </a:xfrm>
              <a:custGeom>
                <a:avLst/>
                <a:gdLst>
                  <a:gd name="T0" fmla="*/ 1122 w 14744"/>
                  <a:gd name="T1" fmla="*/ 722 h 10542"/>
                  <a:gd name="T2" fmla="*/ 1117 w 14744"/>
                  <a:gd name="T3" fmla="*/ 750 h 10542"/>
                  <a:gd name="T4" fmla="*/ 1110 w 14744"/>
                  <a:gd name="T5" fmla="*/ 799 h 10542"/>
                  <a:gd name="T6" fmla="*/ 890 w 14744"/>
                  <a:gd name="T7" fmla="*/ 805 h 10542"/>
                  <a:gd name="T8" fmla="*/ 823 w 14744"/>
                  <a:gd name="T9" fmla="*/ 783 h 10542"/>
                  <a:gd name="T10" fmla="*/ 735 w 14744"/>
                  <a:gd name="T11" fmla="*/ 750 h 10542"/>
                  <a:gd name="T12" fmla="*/ 704 w 14744"/>
                  <a:gd name="T13" fmla="*/ 783 h 10542"/>
                  <a:gd name="T14" fmla="*/ 667 w 14744"/>
                  <a:gd name="T15" fmla="*/ 823 h 10542"/>
                  <a:gd name="T16" fmla="*/ 583 w 14744"/>
                  <a:gd name="T17" fmla="*/ 866 h 10542"/>
                  <a:gd name="T18" fmla="*/ 499 w 14744"/>
                  <a:gd name="T19" fmla="*/ 894 h 10542"/>
                  <a:gd name="T20" fmla="*/ 208 w 14744"/>
                  <a:gd name="T21" fmla="*/ 780 h 10542"/>
                  <a:gd name="T22" fmla="*/ 0 w 14744"/>
                  <a:gd name="T23" fmla="*/ 728 h 10542"/>
                  <a:gd name="T24" fmla="*/ 40 w 14744"/>
                  <a:gd name="T25" fmla="*/ 653 h 10542"/>
                  <a:gd name="T26" fmla="*/ 57 w 14744"/>
                  <a:gd name="T27" fmla="*/ 589 h 10542"/>
                  <a:gd name="T28" fmla="*/ 187 w 14744"/>
                  <a:gd name="T29" fmla="*/ 522 h 10542"/>
                  <a:gd name="T30" fmla="*/ 261 w 14744"/>
                  <a:gd name="T31" fmla="*/ 516 h 10542"/>
                  <a:gd name="T32" fmla="*/ 283 w 14744"/>
                  <a:gd name="T33" fmla="*/ 252 h 10542"/>
                  <a:gd name="T34" fmla="*/ 251 w 14744"/>
                  <a:gd name="T35" fmla="*/ 213 h 10542"/>
                  <a:gd name="T36" fmla="*/ 266 w 14744"/>
                  <a:gd name="T37" fmla="*/ 156 h 10542"/>
                  <a:gd name="T38" fmla="*/ 293 w 14744"/>
                  <a:gd name="T39" fmla="*/ 144 h 10542"/>
                  <a:gd name="T40" fmla="*/ 314 w 14744"/>
                  <a:gd name="T41" fmla="*/ 152 h 10542"/>
                  <a:gd name="T42" fmla="*/ 264 w 14744"/>
                  <a:gd name="T43" fmla="*/ 121 h 10542"/>
                  <a:gd name="T44" fmla="*/ 308 w 14744"/>
                  <a:gd name="T45" fmla="*/ 72 h 10542"/>
                  <a:gd name="T46" fmla="*/ 377 w 14744"/>
                  <a:gd name="T47" fmla="*/ 57 h 10542"/>
                  <a:gd name="T48" fmla="*/ 406 w 14744"/>
                  <a:gd name="T49" fmla="*/ 68 h 10542"/>
                  <a:gd name="T50" fmla="*/ 466 w 14744"/>
                  <a:gd name="T51" fmla="*/ 76 h 10542"/>
                  <a:gd name="T52" fmla="*/ 482 w 14744"/>
                  <a:gd name="T53" fmla="*/ 104 h 10542"/>
                  <a:gd name="T54" fmla="*/ 572 w 14744"/>
                  <a:gd name="T55" fmla="*/ 116 h 10542"/>
                  <a:gd name="T56" fmla="*/ 599 w 14744"/>
                  <a:gd name="T57" fmla="*/ 119 h 10542"/>
                  <a:gd name="T58" fmla="*/ 629 w 14744"/>
                  <a:gd name="T59" fmla="*/ 94 h 10542"/>
                  <a:gd name="T60" fmla="*/ 668 w 14744"/>
                  <a:gd name="T61" fmla="*/ 78 h 10542"/>
                  <a:gd name="T62" fmla="*/ 691 w 14744"/>
                  <a:gd name="T63" fmla="*/ 43 h 10542"/>
                  <a:gd name="T64" fmla="*/ 733 w 14744"/>
                  <a:gd name="T65" fmla="*/ 27 h 10542"/>
                  <a:gd name="T66" fmla="*/ 774 w 14744"/>
                  <a:gd name="T67" fmla="*/ 58 h 10542"/>
                  <a:gd name="T68" fmla="*/ 801 w 14744"/>
                  <a:gd name="T69" fmla="*/ 146 h 10542"/>
                  <a:gd name="T70" fmla="*/ 808 w 14744"/>
                  <a:gd name="T71" fmla="*/ 221 h 10542"/>
                  <a:gd name="T72" fmla="*/ 842 w 14744"/>
                  <a:gd name="T73" fmla="*/ 261 h 10542"/>
                  <a:gd name="T74" fmla="*/ 906 w 14744"/>
                  <a:gd name="T75" fmla="*/ 205 h 10542"/>
                  <a:gd name="T76" fmla="*/ 957 w 14744"/>
                  <a:gd name="T77" fmla="*/ 216 h 10542"/>
                  <a:gd name="T78" fmla="*/ 982 w 14744"/>
                  <a:gd name="T79" fmla="*/ 167 h 10542"/>
                  <a:gd name="T80" fmla="*/ 1069 w 14744"/>
                  <a:gd name="T81" fmla="*/ 149 h 10542"/>
                  <a:gd name="T82" fmla="*/ 1102 w 14744"/>
                  <a:gd name="T83" fmla="*/ 251 h 10542"/>
                  <a:gd name="T84" fmla="*/ 1125 w 14744"/>
                  <a:gd name="T85" fmla="*/ 283 h 10542"/>
                  <a:gd name="T86" fmla="*/ 1175 w 14744"/>
                  <a:gd name="T87" fmla="*/ 289 h 10542"/>
                  <a:gd name="T88" fmla="*/ 1238 w 14744"/>
                  <a:gd name="T89" fmla="*/ 322 h 10542"/>
                  <a:gd name="T90" fmla="*/ 1112 w 14744"/>
                  <a:gd name="T91" fmla="*/ 647 h 10542"/>
                  <a:gd name="T92" fmla="*/ 1127 w 14744"/>
                  <a:gd name="T93" fmla="*/ 694 h 1054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4744" h="10542">
                    <a:moveTo>
                      <a:pt x="13297" y="8188"/>
                    </a:moveTo>
                    <a:cubicBezTo>
                      <a:pt x="13267" y="8233"/>
                      <a:pt x="13297" y="8389"/>
                      <a:pt x="13237" y="8508"/>
                    </a:cubicBezTo>
                    <a:cubicBezTo>
                      <a:pt x="13222" y="8537"/>
                      <a:pt x="13089" y="8575"/>
                      <a:pt x="13089" y="8634"/>
                    </a:cubicBezTo>
                    <a:cubicBezTo>
                      <a:pt x="13089" y="8723"/>
                      <a:pt x="13178" y="8760"/>
                      <a:pt x="13178" y="8842"/>
                    </a:cubicBezTo>
                    <a:cubicBezTo>
                      <a:pt x="13178" y="8938"/>
                      <a:pt x="13133" y="8975"/>
                      <a:pt x="13089" y="9072"/>
                    </a:cubicBezTo>
                    <a:lnTo>
                      <a:pt x="13089" y="9421"/>
                    </a:lnTo>
                    <a:cubicBezTo>
                      <a:pt x="13066" y="9436"/>
                      <a:pt x="13022" y="9465"/>
                      <a:pt x="12992" y="9495"/>
                    </a:cubicBezTo>
                    <a:lnTo>
                      <a:pt x="10498" y="9495"/>
                    </a:lnTo>
                    <a:cubicBezTo>
                      <a:pt x="10468" y="9451"/>
                      <a:pt x="10230" y="9391"/>
                      <a:pt x="10156" y="9406"/>
                    </a:cubicBezTo>
                    <a:cubicBezTo>
                      <a:pt x="9986" y="9428"/>
                      <a:pt x="10008" y="9309"/>
                      <a:pt x="9703" y="9228"/>
                    </a:cubicBezTo>
                    <a:cubicBezTo>
                      <a:pt x="9458" y="9161"/>
                      <a:pt x="9354" y="8819"/>
                      <a:pt x="9310" y="8819"/>
                    </a:cubicBezTo>
                    <a:cubicBezTo>
                      <a:pt x="9139" y="8819"/>
                      <a:pt x="8842" y="8842"/>
                      <a:pt x="8672" y="8842"/>
                    </a:cubicBezTo>
                    <a:cubicBezTo>
                      <a:pt x="8672" y="8931"/>
                      <a:pt x="8560" y="9005"/>
                      <a:pt x="8560" y="9035"/>
                    </a:cubicBezTo>
                    <a:cubicBezTo>
                      <a:pt x="8605" y="9176"/>
                      <a:pt x="8315" y="9064"/>
                      <a:pt x="8300" y="9228"/>
                    </a:cubicBezTo>
                    <a:cubicBezTo>
                      <a:pt x="8293" y="9339"/>
                      <a:pt x="8256" y="9295"/>
                      <a:pt x="8256" y="9391"/>
                    </a:cubicBezTo>
                    <a:cubicBezTo>
                      <a:pt x="8256" y="9643"/>
                      <a:pt x="8048" y="9673"/>
                      <a:pt x="7862" y="9703"/>
                    </a:cubicBezTo>
                    <a:cubicBezTo>
                      <a:pt x="7491" y="9762"/>
                      <a:pt x="7424" y="10178"/>
                      <a:pt x="7313" y="10111"/>
                    </a:cubicBezTo>
                    <a:cubicBezTo>
                      <a:pt x="7179" y="10037"/>
                      <a:pt x="7083" y="10267"/>
                      <a:pt x="6882" y="10208"/>
                    </a:cubicBezTo>
                    <a:cubicBezTo>
                      <a:pt x="6801" y="10185"/>
                      <a:pt x="6801" y="10134"/>
                      <a:pt x="6645" y="10111"/>
                    </a:cubicBezTo>
                    <a:cubicBezTo>
                      <a:pt x="6251" y="10074"/>
                      <a:pt x="6311" y="10356"/>
                      <a:pt x="5887" y="10542"/>
                    </a:cubicBezTo>
                    <a:cubicBezTo>
                      <a:pt x="4997" y="10267"/>
                      <a:pt x="4135" y="9874"/>
                      <a:pt x="3608" y="9621"/>
                    </a:cubicBezTo>
                    <a:cubicBezTo>
                      <a:pt x="3081" y="9369"/>
                      <a:pt x="2933" y="9250"/>
                      <a:pt x="2450" y="9198"/>
                    </a:cubicBezTo>
                    <a:cubicBezTo>
                      <a:pt x="2257" y="9176"/>
                      <a:pt x="1901" y="9064"/>
                      <a:pt x="1181" y="8975"/>
                    </a:cubicBezTo>
                    <a:cubicBezTo>
                      <a:pt x="668" y="8909"/>
                      <a:pt x="357" y="8567"/>
                      <a:pt x="0" y="8582"/>
                    </a:cubicBezTo>
                    <a:cubicBezTo>
                      <a:pt x="0" y="8196"/>
                      <a:pt x="550" y="8226"/>
                      <a:pt x="490" y="7958"/>
                    </a:cubicBezTo>
                    <a:cubicBezTo>
                      <a:pt x="461" y="7936"/>
                      <a:pt x="468" y="7780"/>
                      <a:pt x="468" y="7698"/>
                    </a:cubicBezTo>
                    <a:cubicBezTo>
                      <a:pt x="468" y="7528"/>
                      <a:pt x="646" y="7520"/>
                      <a:pt x="646" y="7357"/>
                    </a:cubicBezTo>
                    <a:cubicBezTo>
                      <a:pt x="646" y="7208"/>
                      <a:pt x="587" y="7134"/>
                      <a:pt x="668" y="6941"/>
                    </a:cubicBezTo>
                    <a:cubicBezTo>
                      <a:pt x="728" y="6763"/>
                      <a:pt x="921" y="6800"/>
                      <a:pt x="1010" y="6689"/>
                    </a:cubicBezTo>
                    <a:cubicBezTo>
                      <a:pt x="1240" y="6399"/>
                      <a:pt x="1737" y="6154"/>
                      <a:pt x="2205" y="6154"/>
                    </a:cubicBezTo>
                    <a:cubicBezTo>
                      <a:pt x="2354" y="6162"/>
                      <a:pt x="2279" y="5939"/>
                      <a:pt x="2562" y="5932"/>
                    </a:cubicBezTo>
                    <a:cubicBezTo>
                      <a:pt x="2925" y="5887"/>
                      <a:pt x="2977" y="6229"/>
                      <a:pt x="3081" y="6080"/>
                    </a:cubicBezTo>
                    <a:cubicBezTo>
                      <a:pt x="3193" y="5590"/>
                      <a:pt x="3527" y="3460"/>
                      <a:pt x="3527" y="3460"/>
                    </a:cubicBezTo>
                    <a:cubicBezTo>
                      <a:pt x="3564" y="3147"/>
                      <a:pt x="3334" y="3147"/>
                      <a:pt x="3334" y="2977"/>
                    </a:cubicBezTo>
                    <a:cubicBezTo>
                      <a:pt x="3334" y="2962"/>
                      <a:pt x="3371" y="2955"/>
                      <a:pt x="3371" y="2880"/>
                    </a:cubicBezTo>
                    <a:cubicBezTo>
                      <a:pt x="3371" y="2754"/>
                      <a:pt x="3044" y="2591"/>
                      <a:pt x="2962" y="2509"/>
                    </a:cubicBezTo>
                    <a:cubicBezTo>
                      <a:pt x="2940" y="2487"/>
                      <a:pt x="2933" y="1908"/>
                      <a:pt x="2955" y="1871"/>
                    </a:cubicBezTo>
                    <a:cubicBezTo>
                      <a:pt x="2992" y="1863"/>
                      <a:pt x="3096" y="1886"/>
                      <a:pt x="3133" y="1834"/>
                    </a:cubicBezTo>
                    <a:cubicBezTo>
                      <a:pt x="3170" y="1811"/>
                      <a:pt x="3215" y="1752"/>
                      <a:pt x="3274" y="1767"/>
                    </a:cubicBezTo>
                    <a:cubicBezTo>
                      <a:pt x="3356" y="1796"/>
                      <a:pt x="3430" y="1700"/>
                      <a:pt x="3452" y="1700"/>
                    </a:cubicBezTo>
                    <a:cubicBezTo>
                      <a:pt x="3527" y="1707"/>
                      <a:pt x="3467" y="1745"/>
                      <a:pt x="3527" y="1796"/>
                    </a:cubicBezTo>
                    <a:cubicBezTo>
                      <a:pt x="3608" y="1886"/>
                      <a:pt x="3705" y="1796"/>
                      <a:pt x="3705" y="1796"/>
                    </a:cubicBezTo>
                    <a:cubicBezTo>
                      <a:pt x="3742" y="1707"/>
                      <a:pt x="3742" y="1425"/>
                      <a:pt x="3542" y="1440"/>
                    </a:cubicBezTo>
                    <a:cubicBezTo>
                      <a:pt x="3415" y="1447"/>
                      <a:pt x="3274" y="1425"/>
                      <a:pt x="3118" y="1425"/>
                    </a:cubicBezTo>
                    <a:cubicBezTo>
                      <a:pt x="3104" y="1425"/>
                      <a:pt x="3118" y="980"/>
                      <a:pt x="3118" y="883"/>
                    </a:cubicBezTo>
                    <a:cubicBezTo>
                      <a:pt x="3118" y="861"/>
                      <a:pt x="3334" y="779"/>
                      <a:pt x="3631" y="846"/>
                    </a:cubicBezTo>
                    <a:cubicBezTo>
                      <a:pt x="3742" y="883"/>
                      <a:pt x="4195" y="824"/>
                      <a:pt x="4447" y="824"/>
                    </a:cubicBezTo>
                    <a:cubicBezTo>
                      <a:pt x="4544" y="824"/>
                      <a:pt x="4447" y="705"/>
                      <a:pt x="4447" y="668"/>
                    </a:cubicBezTo>
                    <a:cubicBezTo>
                      <a:pt x="4447" y="646"/>
                      <a:pt x="4469" y="601"/>
                      <a:pt x="4507" y="601"/>
                    </a:cubicBezTo>
                    <a:cubicBezTo>
                      <a:pt x="4707" y="579"/>
                      <a:pt x="4566" y="824"/>
                      <a:pt x="4789" y="802"/>
                    </a:cubicBezTo>
                    <a:cubicBezTo>
                      <a:pt x="4915" y="742"/>
                      <a:pt x="4997" y="446"/>
                      <a:pt x="5167" y="446"/>
                    </a:cubicBezTo>
                    <a:cubicBezTo>
                      <a:pt x="5264" y="446"/>
                      <a:pt x="5449" y="779"/>
                      <a:pt x="5494" y="898"/>
                    </a:cubicBezTo>
                    <a:cubicBezTo>
                      <a:pt x="5516" y="958"/>
                      <a:pt x="5479" y="1210"/>
                      <a:pt x="5494" y="1232"/>
                    </a:cubicBezTo>
                    <a:cubicBezTo>
                      <a:pt x="5546" y="1277"/>
                      <a:pt x="5628" y="1188"/>
                      <a:pt x="5687" y="1225"/>
                    </a:cubicBezTo>
                    <a:cubicBezTo>
                      <a:pt x="5873" y="1351"/>
                      <a:pt x="6073" y="1544"/>
                      <a:pt x="6184" y="1566"/>
                    </a:cubicBezTo>
                    <a:cubicBezTo>
                      <a:pt x="6429" y="1626"/>
                      <a:pt x="6615" y="1344"/>
                      <a:pt x="6749" y="1373"/>
                    </a:cubicBezTo>
                    <a:cubicBezTo>
                      <a:pt x="6838" y="1447"/>
                      <a:pt x="6726" y="1551"/>
                      <a:pt x="6830" y="1633"/>
                    </a:cubicBezTo>
                    <a:cubicBezTo>
                      <a:pt x="6934" y="1648"/>
                      <a:pt x="6882" y="1447"/>
                      <a:pt x="7068" y="1403"/>
                    </a:cubicBezTo>
                    <a:cubicBezTo>
                      <a:pt x="7142" y="1403"/>
                      <a:pt x="7157" y="1292"/>
                      <a:pt x="7172" y="1232"/>
                    </a:cubicBezTo>
                    <a:cubicBezTo>
                      <a:pt x="7291" y="1232"/>
                      <a:pt x="7335" y="1136"/>
                      <a:pt x="7424" y="1113"/>
                    </a:cubicBezTo>
                    <a:cubicBezTo>
                      <a:pt x="7595" y="1113"/>
                      <a:pt x="7647" y="1017"/>
                      <a:pt x="7751" y="920"/>
                    </a:cubicBezTo>
                    <a:cubicBezTo>
                      <a:pt x="7803" y="883"/>
                      <a:pt x="7803" y="1047"/>
                      <a:pt x="7877" y="920"/>
                    </a:cubicBezTo>
                    <a:cubicBezTo>
                      <a:pt x="7884" y="913"/>
                      <a:pt x="8077" y="839"/>
                      <a:pt x="8077" y="757"/>
                    </a:cubicBezTo>
                    <a:cubicBezTo>
                      <a:pt x="8077" y="638"/>
                      <a:pt x="8055" y="527"/>
                      <a:pt x="8152" y="505"/>
                    </a:cubicBezTo>
                    <a:cubicBezTo>
                      <a:pt x="8293" y="534"/>
                      <a:pt x="8412" y="371"/>
                      <a:pt x="8508" y="319"/>
                    </a:cubicBezTo>
                    <a:lnTo>
                      <a:pt x="8642" y="319"/>
                    </a:lnTo>
                    <a:cubicBezTo>
                      <a:pt x="8664" y="297"/>
                      <a:pt x="8694" y="193"/>
                      <a:pt x="8686" y="170"/>
                    </a:cubicBezTo>
                    <a:cubicBezTo>
                      <a:pt x="8627" y="0"/>
                      <a:pt x="9117" y="586"/>
                      <a:pt x="9132" y="683"/>
                    </a:cubicBezTo>
                    <a:cubicBezTo>
                      <a:pt x="9161" y="839"/>
                      <a:pt x="9310" y="846"/>
                      <a:pt x="9332" y="958"/>
                    </a:cubicBezTo>
                    <a:cubicBezTo>
                      <a:pt x="9377" y="1232"/>
                      <a:pt x="9510" y="1128"/>
                      <a:pt x="9443" y="1722"/>
                    </a:cubicBezTo>
                    <a:cubicBezTo>
                      <a:pt x="9451" y="1863"/>
                      <a:pt x="9532" y="2056"/>
                      <a:pt x="9518" y="2212"/>
                    </a:cubicBezTo>
                    <a:cubicBezTo>
                      <a:pt x="9503" y="2353"/>
                      <a:pt x="9696" y="2569"/>
                      <a:pt x="9525" y="2606"/>
                    </a:cubicBezTo>
                    <a:cubicBezTo>
                      <a:pt x="9384" y="2598"/>
                      <a:pt x="9421" y="2710"/>
                      <a:pt x="9532" y="2747"/>
                    </a:cubicBezTo>
                    <a:cubicBezTo>
                      <a:pt x="9748" y="2843"/>
                      <a:pt x="9926" y="3081"/>
                      <a:pt x="9926" y="3081"/>
                    </a:cubicBezTo>
                    <a:cubicBezTo>
                      <a:pt x="10134" y="3252"/>
                      <a:pt x="10253" y="3147"/>
                      <a:pt x="10253" y="2940"/>
                    </a:cubicBezTo>
                    <a:cubicBezTo>
                      <a:pt x="10171" y="2524"/>
                      <a:pt x="10475" y="2420"/>
                      <a:pt x="10683" y="2420"/>
                    </a:cubicBezTo>
                    <a:cubicBezTo>
                      <a:pt x="10817" y="2390"/>
                      <a:pt x="10861" y="2710"/>
                      <a:pt x="11032" y="2725"/>
                    </a:cubicBezTo>
                    <a:cubicBezTo>
                      <a:pt x="11173" y="2739"/>
                      <a:pt x="11285" y="2546"/>
                      <a:pt x="11285" y="2546"/>
                    </a:cubicBezTo>
                    <a:cubicBezTo>
                      <a:pt x="11270" y="2680"/>
                      <a:pt x="11270" y="2331"/>
                      <a:pt x="11403" y="2249"/>
                    </a:cubicBezTo>
                    <a:cubicBezTo>
                      <a:pt x="11530" y="2205"/>
                      <a:pt x="11552" y="2138"/>
                      <a:pt x="11582" y="1975"/>
                    </a:cubicBezTo>
                    <a:cubicBezTo>
                      <a:pt x="11604" y="1863"/>
                      <a:pt x="11745" y="1745"/>
                      <a:pt x="11930" y="1767"/>
                    </a:cubicBezTo>
                    <a:cubicBezTo>
                      <a:pt x="12116" y="1737"/>
                      <a:pt x="12606" y="1760"/>
                      <a:pt x="12606" y="1760"/>
                    </a:cubicBezTo>
                    <a:cubicBezTo>
                      <a:pt x="12606" y="1760"/>
                      <a:pt x="12680" y="2405"/>
                      <a:pt x="12703" y="2450"/>
                    </a:cubicBezTo>
                    <a:cubicBezTo>
                      <a:pt x="12740" y="2509"/>
                      <a:pt x="13000" y="2955"/>
                      <a:pt x="13000" y="2955"/>
                    </a:cubicBezTo>
                    <a:cubicBezTo>
                      <a:pt x="13000" y="2955"/>
                      <a:pt x="13014" y="3147"/>
                      <a:pt x="13155" y="3141"/>
                    </a:cubicBezTo>
                    <a:cubicBezTo>
                      <a:pt x="13215" y="3207"/>
                      <a:pt x="13267" y="3333"/>
                      <a:pt x="13267" y="3333"/>
                    </a:cubicBezTo>
                    <a:cubicBezTo>
                      <a:pt x="13356" y="3437"/>
                      <a:pt x="13415" y="3355"/>
                      <a:pt x="13541" y="3385"/>
                    </a:cubicBezTo>
                    <a:cubicBezTo>
                      <a:pt x="13660" y="3408"/>
                      <a:pt x="13749" y="3497"/>
                      <a:pt x="13861" y="3408"/>
                    </a:cubicBezTo>
                    <a:cubicBezTo>
                      <a:pt x="14091" y="3408"/>
                      <a:pt x="14291" y="3638"/>
                      <a:pt x="14291" y="3638"/>
                    </a:cubicBezTo>
                    <a:cubicBezTo>
                      <a:pt x="14507" y="3682"/>
                      <a:pt x="14410" y="3816"/>
                      <a:pt x="14603" y="3801"/>
                    </a:cubicBezTo>
                    <a:cubicBezTo>
                      <a:pt x="14744" y="3779"/>
                      <a:pt x="14722" y="4009"/>
                      <a:pt x="14722" y="4009"/>
                    </a:cubicBezTo>
                    <a:lnTo>
                      <a:pt x="13111" y="7624"/>
                    </a:lnTo>
                    <a:cubicBezTo>
                      <a:pt x="13111" y="7624"/>
                      <a:pt x="13022" y="7780"/>
                      <a:pt x="13111" y="7817"/>
                    </a:cubicBezTo>
                    <a:cubicBezTo>
                      <a:pt x="13274" y="7877"/>
                      <a:pt x="13334" y="8136"/>
                      <a:pt x="13297" y="818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155"/>
              <p:cNvSpPr>
                <a:spLocks/>
              </p:cNvSpPr>
              <p:nvPr/>
            </p:nvSpPr>
            <p:spPr bwMode="auto">
              <a:xfrm>
                <a:off x="3690486" y="2914021"/>
                <a:ext cx="847275" cy="680571"/>
              </a:xfrm>
              <a:custGeom>
                <a:avLst/>
                <a:gdLst>
                  <a:gd name="T0" fmla="*/ 32 w 6051"/>
                  <a:gd name="T1" fmla="*/ 156 h 4863"/>
                  <a:gd name="T2" fmla="*/ 60 w 6051"/>
                  <a:gd name="T3" fmla="*/ 148 h 4863"/>
                  <a:gd name="T4" fmla="*/ 89 w 6051"/>
                  <a:gd name="T5" fmla="*/ 148 h 4863"/>
                  <a:gd name="T6" fmla="*/ 108 w 6051"/>
                  <a:gd name="T7" fmla="*/ 138 h 4863"/>
                  <a:gd name="T8" fmla="*/ 113 w 6051"/>
                  <a:gd name="T9" fmla="*/ 164 h 4863"/>
                  <a:gd name="T10" fmla="*/ 116 w 6051"/>
                  <a:gd name="T11" fmla="*/ 177 h 4863"/>
                  <a:gd name="T12" fmla="*/ 108 w 6051"/>
                  <a:gd name="T13" fmla="*/ 203 h 4863"/>
                  <a:gd name="T14" fmla="*/ 118 w 6051"/>
                  <a:gd name="T15" fmla="*/ 228 h 4863"/>
                  <a:gd name="T16" fmla="*/ 115 w 6051"/>
                  <a:gd name="T17" fmla="*/ 255 h 4863"/>
                  <a:gd name="T18" fmla="*/ 132 w 6051"/>
                  <a:gd name="T19" fmla="*/ 286 h 4863"/>
                  <a:gd name="T20" fmla="*/ 147 w 6051"/>
                  <a:gd name="T21" fmla="*/ 306 h 4863"/>
                  <a:gd name="T22" fmla="*/ 171 w 6051"/>
                  <a:gd name="T23" fmla="*/ 320 h 4863"/>
                  <a:gd name="T24" fmla="*/ 196 w 6051"/>
                  <a:gd name="T25" fmla="*/ 339 h 4863"/>
                  <a:gd name="T26" fmla="*/ 229 w 6051"/>
                  <a:gd name="T27" fmla="*/ 335 h 4863"/>
                  <a:gd name="T28" fmla="*/ 257 w 6051"/>
                  <a:gd name="T29" fmla="*/ 350 h 4863"/>
                  <a:gd name="T30" fmla="*/ 276 w 6051"/>
                  <a:gd name="T31" fmla="*/ 347 h 4863"/>
                  <a:gd name="T32" fmla="*/ 289 w 6051"/>
                  <a:gd name="T33" fmla="*/ 360 h 4863"/>
                  <a:gd name="T34" fmla="*/ 333 w 6051"/>
                  <a:gd name="T35" fmla="*/ 380 h 4863"/>
                  <a:gd name="T36" fmla="*/ 344 w 6051"/>
                  <a:gd name="T37" fmla="*/ 380 h 4863"/>
                  <a:gd name="T38" fmla="*/ 359 w 6051"/>
                  <a:gd name="T39" fmla="*/ 394 h 4863"/>
                  <a:gd name="T40" fmla="*/ 397 w 6051"/>
                  <a:gd name="T41" fmla="*/ 408 h 4863"/>
                  <a:gd name="T42" fmla="*/ 423 w 6051"/>
                  <a:gd name="T43" fmla="*/ 405 h 4863"/>
                  <a:gd name="T44" fmla="*/ 444 w 6051"/>
                  <a:gd name="T45" fmla="*/ 412 h 4863"/>
                  <a:gd name="T46" fmla="*/ 470 w 6051"/>
                  <a:gd name="T47" fmla="*/ 395 h 4863"/>
                  <a:gd name="T48" fmla="*/ 480 w 6051"/>
                  <a:gd name="T49" fmla="*/ 365 h 4863"/>
                  <a:gd name="T50" fmla="*/ 509 w 6051"/>
                  <a:gd name="T51" fmla="*/ 311 h 4863"/>
                  <a:gd name="T52" fmla="*/ 492 w 6051"/>
                  <a:gd name="T53" fmla="*/ 264 h 4863"/>
                  <a:gd name="T54" fmla="*/ 503 w 6051"/>
                  <a:gd name="T55" fmla="*/ 233 h 4863"/>
                  <a:gd name="T56" fmla="*/ 455 w 6051"/>
                  <a:gd name="T57" fmla="*/ 215 h 4863"/>
                  <a:gd name="T58" fmla="*/ 417 w 6051"/>
                  <a:gd name="T59" fmla="*/ 214 h 4863"/>
                  <a:gd name="T60" fmla="*/ 385 w 6051"/>
                  <a:gd name="T61" fmla="*/ 169 h 4863"/>
                  <a:gd name="T62" fmla="*/ 398 w 6051"/>
                  <a:gd name="T63" fmla="*/ 118 h 4863"/>
                  <a:gd name="T64" fmla="*/ 391 w 6051"/>
                  <a:gd name="T65" fmla="*/ 57 h 4863"/>
                  <a:gd name="T66" fmla="*/ 362 w 6051"/>
                  <a:gd name="T67" fmla="*/ 50 h 4863"/>
                  <a:gd name="T68" fmla="*/ 324 w 6051"/>
                  <a:gd name="T69" fmla="*/ 35 h 4863"/>
                  <a:gd name="T70" fmla="*/ 290 w 6051"/>
                  <a:gd name="T71" fmla="*/ 0 h 4863"/>
                  <a:gd name="T72" fmla="*/ 236 w 6051"/>
                  <a:gd name="T73" fmla="*/ 2 h 4863"/>
                  <a:gd name="T74" fmla="*/ 227 w 6051"/>
                  <a:gd name="T75" fmla="*/ 18 h 4863"/>
                  <a:gd name="T76" fmla="*/ 205 w 6051"/>
                  <a:gd name="T77" fmla="*/ 35 h 4863"/>
                  <a:gd name="T78" fmla="*/ 201 w 6051"/>
                  <a:gd name="T79" fmla="*/ 48 h 4863"/>
                  <a:gd name="T80" fmla="*/ 167 w 6051"/>
                  <a:gd name="T81" fmla="*/ 75 h 4863"/>
                  <a:gd name="T82" fmla="*/ 121 w 6051"/>
                  <a:gd name="T83" fmla="*/ 109 h 4863"/>
                  <a:gd name="T84" fmla="*/ 84 w 6051"/>
                  <a:gd name="T85" fmla="*/ 118 h 4863"/>
                  <a:gd name="T86" fmla="*/ 64 w 6051"/>
                  <a:gd name="T87" fmla="*/ 109 h 4863"/>
                  <a:gd name="T88" fmla="*/ 0 w 6051"/>
                  <a:gd name="T89" fmla="*/ 146 h 4863"/>
                  <a:gd name="T90" fmla="*/ 32 w 6051"/>
                  <a:gd name="T91" fmla="*/ 156 h 486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6051" h="4863">
                    <a:moveTo>
                      <a:pt x="372" y="1842"/>
                    </a:moveTo>
                    <a:cubicBezTo>
                      <a:pt x="520" y="1804"/>
                      <a:pt x="520" y="1745"/>
                      <a:pt x="713" y="1745"/>
                    </a:cubicBezTo>
                    <a:cubicBezTo>
                      <a:pt x="884" y="1745"/>
                      <a:pt x="899" y="1730"/>
                      <a:pt x="1055" y="1745"/>
                    </a:cubicBezTo>
                    <a:cubicBezTo>
                      <a:pt x="1173" y="1752"/>
                      <a:pt x="1188" y="1611"/>
                      <a:pt x="1270" y="1626"/>
                    </a:cubicBezTo>
                    <a:cubicBezTo>
                      <a:pt x="1396" y="1760"/>
                      <a:pt x="1329" y="1819"/>
                      <a:pt x="1329" y="1931"/>
                    </a:cubicBezTo>
                    <a:cubicBezTo>
                      <a:pt x="1329" y="1998"/>
                      <a:pt x="1366" y="2087"/>
                      <a:pt x="1366" y="2087"/>
                    </a:cubicBezTo>
                    <a:cubicBezTo>
                      <a:pt x="1366" y="2198"/>
                      <a:pt x="1270" y="2213"/>
                      <a:pt x="1270" y="2391"/>
                    </a:cubicBezTo>
                    <a:cubicBezTo>
                      <a:pt x="1270" y="2554"/>
                      <a:pt x="1389" y="2554"/>
                      <a:pt x="1389" y="2695"/>
                    </a:cubicBezTo>
                    <a:cubicBezTo>
                      <a:pt x="1389" y="2807"/>
                      <a:pt x="1359" y="2903"/>
                      <a:pt x="1359" y="3014"/>
                    </a:cubicBezTo>
                    <a:cubicBezTo>
                      <a:pt x="1359" y="3171"/>
                      <a:pt x="1485" y="3349"/>
                      <a:pt x="1560" y="3371"/>
                    </a:cubicBezTo>
                    <a:cubicBezTo>
                      <a:pt x="1656" y="3401"/>
                      <a:pt x="1641" y="3594"/>
                      <a:pt x="1738" y="3609"/>
                    </a:cubicBezTo>
                    <a:cubicBezTo>
                      <a:pt x="1931" y="3624"/>
                      <a:pt x="1893" y="3779"/>
                      <a:pt x="2020" y="3779"/>
                    </a:cubicBezTo>
                    <a:cubicBezTo>
                      <a:pt x="2198" y="3779"/>
                      <a:pt x="2087" y="3965"/>
                      <a:pt x="2317" y="4002"/>
                    </a:cubicBezTo>
                    <a:cubicBezTo>
                      <a:pt x="2584" y="4047"/>
                      <a:pt x="2606" y="3957"/>
                      <a:pt x="2703" y="3957"/>
                    </a:cubicBezTo>
                    <a:cubicBezTo>
                      <a:pt x="2940" y="3957"/>
                      <a:pt x="2888" y="3994"/>
                      <a:pt x="3037" y="4128"/>
                    </a:cubicBezTo>
                    <a:cubicBezTo>
                      <a:pt x="3111" y="4195"/>
                      <a:pt x="3178" y="4099"/>
                      <a:pt x="3252" y="4099"/>
                    </a:cubicBezTo>
                    <a:cubicBezTo>
                      <a:pt x="3326" y="4099"/>
                      <a:pt x="3371" y="4210"/>
                      <a:pt x="3408" y="4254"/>
                    </a:cubicBezTo>
                    <a:cubicBezTo>
                      <a:pt x="3534" y="4425"/>
                      <a:pt x="3750" y="4343"/>
                      <a:pt x="3928" y="4484"/>
                    </a:cubicBezTo>
                    <a:cubicBezTo>
                      <a:pt x="3980" y="4529"/>
                      <a:pt x="3994" y="4484"/>
                      <a:pt x="4061" y="4484"/>
                    </a:cubicBezTo>
                    <a:cubicBezTo>
                      <a:pt x="4180" y="4470"/>
                      <a:pt x="4128" y="4611"/>
                      <a:pt x="4232" y="4648"/>
                    </a:cubicBezTo>
                    <a:cubicBezTo>
                      <a:pt x="4343" y="4856"/>
                      <a:pt x="4447" y="4848"/>
                      <a:pt x="4677" y="4811"/>
                    </a:cubicBezTo>
                    <a:cubicBezTo>
                      <a:pt x="4796" y="4789"/>
                      <a:pt x="4900" y="4782"/>
                      <a:pt x="4989" y="4782"/>
                    </a:cubicBezTo>
                    <a:cubicBezTo>
                      <a:pt x="5041" y="4782"/>
                      <a:pt x="5138" y="4811"/>
                      <a:pt x="5234" y="4863"/>
                    </a:cubicBezTo>
                    <a:cubicBezTo>
                      <a:pt x="5323" y="4774"/>
                      <a:pt x="5442" y="4729"/>
                      <a:pt x="5539" y="4663"/>
                    </a:cubicBezTo>
                    <a:cubicBezTo>
                      <a:pt x="5620" y="4596"/>
                      <a:pt x="5598" y="4410"/>
                      <a:pt x="5665" y="4306"/>
                    </a:cubicBezTo>
                    <a:cubicBezTo>
                      <a:pt x="5798" y="4099"/>
                      <a:pt x="5947" y="4091"/>
                      <a:pt x="6006" y="3668"/>
                    </a:cubicBezTo>
                    <a:cubicBezTo>
                      <a:pt x="6051" y="3326"/>
                      <a:pt x="5798" y="3319"/>
                      <a:pt x="5798" y="3111"/>
                    </a:cubicBezTo>
                    <a:cubicBezTo>
                      <a:pt x="5798" y="2963"/>
                      <a:pt x="5969" y="2978"/>
                      <a:pt x="5932" y="2755"/>
                    </a:cubicBezTo>
                    <a:cubicBezTo>
                      <a:pt x="5895" y="2576"/>
                      <a:pt x="5583" y="2621"/>
                      <a:pt x="5361" y="2539"/>
                    </a:cubicBezTo>
                    <a:cubicBezTo>
                      <a:pt x="5264" y="2502"/>
                      <a:pt x="4930" y="2584"/>
                      <a:pt x="4915" y="2525"/>
                    </a:cubicBezTo>
                    <a:cubicBezTo>
                      <a:pt x="4893" y="2368"/>
                      <a:pt x="4544" y="2265"/>
                      <a:pt x="4544" y="1998"/>
                    </a:cubicBezTo>
                    <a:cubicBezTo>
                      <a:pt x="4544" y="1760"/>
                      <a:pt x="4700" y="1619"/>
                      <a:pt x="4700" y="1389"/>
                    </a:cubicBezTo>
                    <a:cubicBezTo>
                      <a:pt x="4700" y="1136"/>
                      <a:pt x="4581" y="951"/>
                      <a:pt x="4611" y="676"/>
                    </a:cubicBezTo>
                    <a:cubicBezTo>
                      <a:pt x="4581" y="632"/>
                      <a:pt x="4343" y="572"/>
                      <a:pt x="4269" y="587"/>
                    </a:cubicBezTo>
                    <a:cubicBezTo>
                      <a:pt x="4099" y="609"/>
                      <a:pt x="4121" y="491"/>
                      <a:pt x="3816" y="409"/>
                    </a:cubicBezTo>
                    <a:cubicBezTo>
                      <a:pt x="3571" y="342"/>
                      <a:pt x="3467" y="0"/>
                      <a:pt x="3423" y="0"/>
                    </a:cubicBezTo>
                    <a:cubicBezTo>
                      <a:pt x="3252" y="0"/>
                      <a:pt x="2955" y="23"/>
                      <a:pt x="2784" y="23"/>
                    </a:cubicBezTo>
                    <a:cubicBezTo>
                      <a:pt x="2784" y="112"/>
                      <a:pt x="2673" y="186"/>
                      <a:pt x="2673" y="216"/>
                    </a:cubicBezTo>
                    <a:cubicBezTo>
                      <a:pt x="2718" y="357"/>
                      <a:pt x="2428" y="245"/>
                      <a:pt x="2413" y="409"/>
                    </a:cubicBezTo>
                    <a:cubicBezTo>
                      <a:pt x="2406" y="520"/>
                      <a:pt x="2369" y="476"/>
                      <a:pt x="2369" y="572"/>
                    </a:cubicBezTo>
                    <a:cubicBezTo>
                      <a:pt x="2369" y="824"/>
                      <a:pt x="2161" y="854"/>
                      <a:pt x="1975" y="884"/>
                    </a:cubicBezTo>
                    <a:cubicBezTo>
                      <a:pt x="1604" y="943"/>
                      <a:pt x="1537" y="1359"/>
                      <a:pt x="1426" y="1292"/>
                    </a:cubicBezTo>
                    <a:cubicBezTo>
                      <a:pt x="1292" y="1218"/>
                      <a:pt x="1196" y="1448"/>
                      <a:pt x="995" y="1389"/>
                    </a:cubicBezTo>
                    <a:cubicBezTo>
                      <a:pt x="914" y="1366"/>
                      <a:pt x="914" y="1314"/>
                      <a:pt x="758" y="1292"/>
                    </a:cubicBezTo>
                    <a:cubicBezTo>
                      <a:pt x="364" y="1255"/>
                      <a:pt x="424" y="1537"/>
                      <a:pt x="0" y="1723"/>
                    </a:cubicBezTo>
                    <a:lnTo>
                      <a:pt x="372" y="184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157"/>
              <p:cNvSpPr>
                <a:spLocks/>
              </p:cNvSpPr>
              <p:nvPr/>
            </p:nvSpPr>
            <p:spPr bwMode="auto">
              <a:xfrm>
                <a:off x="2846514" y="2877680"/>
                <a:ext cx="896823" cy="460872"/>
              </a:xfrm>
              <a:custGeom>
                <a:avLst/>
                <a:gdLst>
                  <a:gd name="T0" fmla="*/ 513 w 6407"/>
                  <a:gd name="T1" fmla="*/ 168 h 3289"/>
                  <a:gd name="T2" fmla="*/ 543 w 6407"/>
                  <a:gd name="T3" fmla="*/ 178 h 3289"/>
                  <a:gd name="T4" fmla="*/ 517 w 6407"/>
                  <a:gd name="T5" fmla="*/ 191 h 3289"/>
                  <a:gd name="T6" fmla="*/ 496 w 6407"/>
                  <a:gd name="T7" fmla="*/ 209 h 3289"/>
                  <a:gd name="T8" fmla="*/ 472 w 6407"/>
                  <a:gd name="T9" fmla="*/ 222 h 3289"/>
                  <a:gd name="T10" fmla="*/ 448 w 6407"/>
                  <a:gd name="T11" fmla="*/ 241 h 3289"/>
                  <a:gd name="T12" fmla="*/ 390 w 6407"/>
                  <a:gd name="T13" fmla="*/ 276 h 3289"/>
                  <a:gd name="T14" fmla="*/ 353 w 6407"/>
                  <a:gd name="T15" fmla="*/ 266 h 3289"/>
                  <a:gd name="T16" fmla="*/ 300 w 6407"/>
                  <a:gd name="T17" fmla="*/ 266 h 3289"/>
                  <a:gd name="T18" fmla="*/ 272 w 6407"/>
                  <a:gd name="T19" fmla="*/ 279 h 3289"/>
                  <a:gd name="T20" fmla="*/ 262 w 6407"/>
                  <a:gd name="T21" fmla="*/ 275 h 3289"/>
                  <a:gd name="T22" fmla="*/ 248 w 6407"/>
                  <a:gd name="T23" fmla="*/ 234 h 3289"/>
                  <a:gd name="T24" fmla="*/ 248 w 6407"/>
                  <a:gd name="T25" fmla="*/ 164 h 3289"/>
                  <a:gd name="T26" fmla="*/ 171 w 6407"/>
                  <a:gd name="T27" fmla="*/ 210 h 3289"/>
                  <a:gd name="T28" fmla="*/ 138 w 6407"/>
                  <a:gd name="T29" fmla="*/ 209 h 3289"/>
                  <a:gd name="T30" fmla="*/ 66 w 6407"/>
                  <a:gd name="T31" fmla="*/ 169 h 3289"/>
                  <a:gd name="T32" fmla="*/ 80 w 6407"/>
                  <a:gd name="T33" fmla="*/ 147 h 3289"/>
                  <a:gd name="T34" fmla="*/ 51 w 6407"/>
                  <a:gd name="T35" fmla="*/ 115 h 3289"/>
                  <a:gd name="T36" fmla="*/ 36 w 6407"/>
                  <a:gd name="T37" fmla="*/ 96 h 3289"/>
                  <a:gd name="T38" fmla="*/ 16 w 6407"/>
                  <a:gd name="T39" fmla="*/ 69 h 3289"/>
                  <a:gd name="T40" fmla="*/ 19 w 6407"/>
                  <a:gd name="T41" fmla="*/ 60 h 3289"/>
                  <a:gd name="T42" fmla="*/ 1 w 6407"/>
                  <a:gd name="T43" fmla="*/ 35 h 3289"/>
                  <a:gd name="T44" fmla="*/ 18 w 6407"/>
                  <a:gd name="T45" fmla="*/ 20 h 3289"/>
                  <a:gd name="T46" fmla="*/ 13 w 6407"/>
                  <a:gd name="T47" fmla="*/ 1 h 3289"/>
                  <a:gd name="T48" fmla="*/ 113 w 6407"/>
                  <a:gd name="T49" fmla="*/ 35 h 3289"/>
                  <a:gd name="T50" fmla="*/ 220 w 6407"/>
                  <a:gd name="T51" fmla="*/ 54 h 3289"/>
                  <a:gd name="T52" fmla="*/ 318 w 6407"/>
                  <a:gd name="T53" fmla="*/ 89 h 3289"/>
                  <a:gd name="T54" fmla="*/ 513 w 6407"/>
                  <a:gd name="T55" fmla="*/ 168 h 328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6407" h="3289">
                    <a:moveTo>
                      <a:pt x="6058" y="1975"/>
                    </a:moveTo>
                    <a:lnTo>
                      <a:pt x="6407" y="2094"/>
                    </a:lnTo>
                    <a:cubicBezTo>
                      <a:pt x="6288" y="2131"/>
                      <a:pt x="6206" y="2116"/>
                      <a:pt x="6102" y="2257"/>
                    </a:cubicBezTo>
                    <a:cubicBezTo>
                      <a:pt x="6028" y="2354"/>
                      <a:pt x="5976" y="2405"/>
                      <a:pt x="5857" y="2465"/>
                    </a:cubicBezTo>
                    <a:cubicBezTo>
                      <a:pt x="5739" y="2524"/>
                      <a:pt x="5716" y="2480"/>
                      <a:pt x="5568" y="2620"/>
                    </a:cubicBezTo>
                    <a:cubicBezTo>
                      <a:pt x="5486" y="2702"/>
                      <a:pt x="5441" y="2836"/>
                      <a:pt x="5286" y="2836"/>
                    </a:cubicBezTo>
                    <a:cubicBezTo>
                      <a:pt x="4862" y="2836"/>
                      <a:pt x="5056" y="3215"/>
                      <a:pt x="4603" y="3252"/>
                    </a:cubicBezTo>
                    <a:cubicBezTo>
                      <a:pt x="4506" y="3252"/>
                      <a:pt x="4558" y="3111"/>
                      <a:pt x="4165" y="3133"/>
                    </a:cubicBezTo>
                    <a:cubicBezTo>
                      <a:pt x="4038" y="3140"/>
                      <a:pt x="3704" y="3133"/>
                      <a:pt x="3534" y="3133"/>
                    </a:cubicBezTo>
                    <a:cubicBezTo>
                      <a:pt x="3400" y="3133"/>
                      <a:pt x="3363" y="3289"/>
                      <a:pt x="3214" y="3289"/>
                    </a:cubicBezTo>
                    <a:cubicBezTo>
                      <a:pt x="3133" y="3289"/>
                      <a:pt x="3103" y="3289"/>
                      <a:pt x="3088" y="3237"/>
                    </a:cubicBezTo>
                    <a:cubicBezTo>
                      <a:pt x="2873" y="3192"/>
                      <a:pt x="2925" y="3051"/>
                      <a:pt x="2925" y="2754"/>
                    </a:cubicBezTo>
                    <a:cubicBezTo>
                      <a:pt x="2925" y="2510"/>
                      <a:pt x="2940" y="2019"/>
                      <a:pt x="2925" y="1938"/>
                    </a:cubicBezTo>
                    <a:cubicBezTo>
                      <a:pt x="2539" y="2094"/>
                      <a:pt x="2687" y="2487"/>
                      <a:pt x="2019" y="2472"/>
                    </a:cubicBezTo>
                    <a:cubicBezTo>
                      <a:pt x="1871" y="2465"/>
                      <a:pt x="1767" y="2487"/>
                      <a:pt x="1626" y="2465"/>
                    </a:cubicBezTo>
                    <a:cubicBezTo>
                      <a:pt x="1633" y="1760"/>
                      <a:pt x="698" y="2153"/>
                      <a:pt x="779" y="1997"/>
                    </a:cubicBezTo>
                    <a:cubicBezTo>
                      <a:pt x="831" y="1930"/>
                      <a:pt x="943" y="1856"/>
                      <a:pt x="943" y="1737"/>
                    </a:cubicBezTo>
                    <a:cubicBezTo>
                      <a:pt x="943" y="1582"/>
                      <a:pt x="601" y="1410"/>
                      <a:pt x="601" y="1358"/>
                    </a:cubicBezTo>
                    <a:cubicBezTo>
                      <a:pt x="601" y="1136"/>
                      <a:pt x="453" y="1262"/>
                      <a:pt x="423" y="1136"/>
                    </a:cubicBezTo>
                    <a:cubicBezTo>
                      <a:pt x="349" y="876"/>
                      <a:pt x="326" y="936"/>
                      <a:pt x="193" y="809"/>
                    </a:cubicBezTo>
                    <a:cubicBezTo>
                      <a:pt x="200" y="794"/>
                      <a:pt x="230" y="743"/>
                      <a:pt x="230" y="705"/>
                    </a:cubicBezTo>
                    <a:cubicBezTo>
                      <a:pt x="230" y="557"/>
                      <a:pt x="0" y="646"/>
                      <a:pt x="7" y="408"/>
                    </a:cubicBezTo>
                    <a:cubicBezTo>
                      <a:pt x="15" y="230"/>
                      <a:pt x="208" y="319"/>
                      <a:pt x="208" y="238"/>
                    </a:cubicBezTo>
                    <a:cubicBezTo>
                      <a:pt x="208" y="178"/>
                      <a:pt x="148" y="74"/>
                      <a:pt x="148" y="15"/>
                    </a:cubicBezTo>
                    <a:cubicBezTo>
                      <a:pt x="505" y="0"/>
                      <a:pt x="816" y="342"/>
                      <a:pt x="1329" y="408"/>
                    </a:cubicBezTo>
                    <a:cubicBezTo>
                      <a:pt x="2049" y="497"/>
                      <a:pt x="2405" y="609"/>
                      <a:pt x="2598" y="631"/>
                    </a:cubicBezTo>
                    <a:cubicBezTo>
                      <a:pt x="3081" y="683"/>
                      <a:pt x="3229" y="802"/>
                      <a:pt x="3756" y="1054"/>
                    </a:cubicBezTo>
                    <a:cubicBezTo>
                      <a:pt x="4283" y="1307"/>
                      <a:pt x="5167" y="1700"/>
                      <a:pt x="6058" y="197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158"/>
              <p:cNvSpPr>
                <a:spLocks/>
              </p:cNvSpPr>
              <p:nvPr/>
            </p:nvSpPr>
            <p:spPr bwMode="auto">
              <a:xfrm>
                <a:off x="3908498" y="1348046"/>
                <a:ext cx="726707" cy="786291"/>
              </a:xfrm>
              <a:custGeom>
                <a:avLst/>
                <a:gdLst>
                  <a:gd name="T0" fmla="*/ 437 w 5182"/>
                  <a:gd name="T1" fmla="*/ 348 h 5620"/>
                  <a:gd name="T2" fmla="*/ 438 w 5182"/>
                  <a:gd name="T3" fmla="*/ 350 h 5620"/>
                  <a:gd name="T4" fmla="*/ 381 w 5182"/>
                  <a:gd name="T5" fmla="*/ 350 h 5620"/>
                  <a:gd name="T6" fmla="*/ 351 w 5182"/>
                  <a:gd name="T7" fmla="*/ 368 h 5620"/>
                  <a:gd name="T8" fmla="*/ 336 w 5182"/>
                  <a:gd name="T9" fmla="*/ 391 h 5620"/>
                  <a:gd name="T10" fmla="*/ 326 w 5182"/>
                  <a:gd name="T11" fmla="*/ 416 h 5620"/>
                  <a:gd name="T12" fmla="*/ 304 w 5182"/>
                  <a:gd name="T13" fmla="*/ 431 h 5620"/>
                  <a:gd name="T14" fmla="*/ 275 w 5182"/>
                  <a:gd name="T15" fmla="*/ 406 h 5620"/>
                  <a:gd name="T16" fmla="*/ 238 w 5182"/>
                  <a:gd name="T17" fmla="*/ 450 h 5620"/>
                  <a:gd name="T18" fmla="*/ 211 w 5182"/>
                  <a:gd name="T19" fmla="*/ 462 h 5620"/>
                  <a:gd name="T20" fmla="*/ 177 w 5182"/>
                  <a:gd name="T21" fmla="*/ 433 h 5620"/>
                  <a:gd name="T22" fmla="*/ 177 w 5182"/>
                  <a:gd name="T23" fmla="*/ 421 h 5620"/>
                  <a:gd name="T24" fmla="*/ 176 w 5182"/>
                  <a:gd name="T25" fmla="*/ 388 h 5620"/>
                  <a:gd name="T26" fmla="*/ 170 w 5182"/>
                  <a:gd name="T27" fmla="*/ 346 h 5620"/>
                  <a:gd name="T28" fmla="*/ 160 w 5182"/>
                  <a:gd name="T29" fmla="*/ 282 h 5620"/>
                  <a:gd name="T30" fmla="*/ 143 w 5182"/>
                  <a:gd name="T31" fmla="*/ 258 h 5620"/>
                  <a:gd name="T32" fmla="*/ 106 w 5182"/>
                  <a:gd name="T33" fmla="*/ 214 h 5620"/>
                  <a:gd name="T34" fmla="*/ 93 w 5182"/>
                  <a:gd name="T35" fmla="*/ 209 h 5620"/>
                  <a:gd name="T36" fmla="*/ 70 w 5182"/>
                  <a:gd name="T37" fmla="*/ 209 h 5620"/>
                  <a:gd name="T38" fmla="*/ 57 w 5182"/>
                  <a:gd name="T39" fmla="*/ 195 h 5620"/>
                  <a:gd name="T40" fmla="*/ 42 w 5182"/>
                  <a:gd name="T41" fmla="*/ 158 h 5620"/>
                  <a:gd name="T42" fmla="*/ 42 w 5182"/>
                  <a:gd name="T43" fmla="*/ 134 h 5620"/>
                  <a:gd name="T44" fmla="*/ 13 w 5182"/>
                  <a:gd name="T45" fmla="*/ 101 h 5620"/>
                  <a:gd name="T46" fmla="*/ 4 w 5182"/>
                  <a:gd name="T47" fmla="*/ 79 h 5620"/>
                  <a:gd name="T48" fmla="*/ 18 w 5182"/>
                  <a:gd name="T49" fmla="*/ 87 h 5620"/>
                  <a:gd name="T50" fmla="*/ 41 w 5182"/>
                  <a:gd name="T51" fmla="*/ 86 h 5620"/>
                  <a:gd name="T52" fmla="*/ 57 w 5182"/>
                  <a:gd name="T53" fmla="*/ 104 h 5620"/>
                  <a:gd name="T54" fmla="*/ 75 w 5182"/>
                  <a:gd name="T55" fmla="*/ 99 h 5620"/>
                  <a:gd name="T56" fmla="*/ 93 w 5182"/>
                  <a:gd name="T57" fmla="*/ 102 h 5620"/>
                  <a:gd name="T58" fmla="*/ 106 w 5182"/>
                  <a:gd name="T59" fmla="*/ 98 h 5620"/>
                  <a:gd name="T60" fmla="*/ 139 w 5182"/>
                  <a:gd name="T61" fmla="*/ 125 h 5620"/>
                  <a:gd name="T62" fmla="*/ 150 w 5182"/>
                  <a:gd name="T63" fmla="*/ 114 h 5620"/>
                  <a:gd name="T64" fmla="*/ 148 w 5182"/>
                  <a:gd name="T65" fmla="*/ 96 h 5620"/>
                  <a:gd name="T66" fmla="*/ 164 w 5182"/>
                  <a:gd name="T67" fmla="*/ 92 h 5620"/>
                  <a:gd name="T68" fmla="*/ 173 w 5182"/>
                  <a:gd name="T69" fmla="*/ 80 h 5620"/>
                  <a:gd name="T70" fmla="*/ 190 w 5182"/>
                  <a:gd name="T71" fmla="*/ 86 h 5620"/>
                  <a:gd name="T72" fmla="*/ 204 w 5182"/>
                  <a:gd name="T73" fmla="*/ 82 h 5620"/>
                  <a:gd name="T74" fmla="*/ 214 w 5182"/>
                  <a:gd name="T75" fmla="*/ 80 h 5620"/>
                  <a:gd name="T76" fmla="*/ 233 w 5182"/>
                  <a:gd name="T77" fmla="*/ 74 h 5620"/>
                  <a:gd name="T78" fmla="*/ 252 w 5182"/>
                  <a:gd name="T79" fmla="*/ 61 h 5620"/>
                  <a:gd name="T80" fmla="*/ 280 w 5182"/>
                  <a:gd name="T81" fmla="*/ 55 h 5620"/>
                  <a:gd name="T82" fmla="*/ 309 w 5182"/>
                  <a:gd name="T83" fmla="*/ 22 h 5620"/>
                  <a:gd name="T84" fmla="*/ 303 w 5182"/>
                  <a:gd name="T85" fmla="*/ 6 h 5620"/>
                  <a:gd name="T86" fmla="*/ 324 w 5182"/>
                  <a:gd name="T87" fmla="*/ 6 h 5620"/>
                  <a:gd name="T88" fmla="*/ 339 w 5182"/>
                  <a:gd name="T89" fmla="*/ 0 h 5620"/>
                  <a:gd name="T90" fmla="*/ 352 w 5182"/>
                  <a:gd name="T91" fmla="*/ 28 h 5620"/>
                  <a:gd name="T92" fmla="*/ 343 w 5182"/>
                  <a:gd name="T93" fmla="*/ 51 h 5620"/>
                  <a:gd name="T94" fmla="*/ 371 w 5182"/>
                  <a:gd name="T95" fmla="*/ 58 h 5620"/>
                  <a:gd name="T96" fmla="*/ 374 w 5182"/>
                  <a:gd name="T97" fmla="*/ 73 h 5620"/>
                  <a:gd name="T98" fmla="*/ 383 w 5182"/>
                  <a:gd name="T99" fmla="*/ 99 h 5620"/>
                  <a:gd name="T100" fmla="*/ 364 w 5182"/>
                  <a:gd name="T101" fmla="*/ 121 h 5620"/>
                  <a:gd name="T102" fmla="*/ 365 w 5182"/>
                  <a:gd name="T103" fmla="*/ 138 h 5620"/>
                  <a:gd name="T104" fmla="*/ 354 w 5182"/>
                  <a:gd name="T105" fmla="*/ 179 h 5620"/>
                  <a:gd name="T106" fmla="*/ 373 w 5182"/>
                  <a:gd name="T107" fmla="*/ 217 h 5620"/>
                  <a:gd name="T108" fmla="*/ 374 w 5182"/>
                  <a:gd name="T109" fmla="*/ 239 h 5620"/>
                  <a:gd name="T110" fmla="*/ 415 w 5182"/>
                  <a:gd name="T111" fmla="*/ 277 h 5620"/>
                  <a:gd name="T112" fmla="*/ 432 w 5182"/>
                  <a:gd name="T113" fmla="*/ 285 h 5620"/>
                  <a:gd name="T114" fmla="*/ 437 w 5182"/>
                  <a:gd name="T115" fmla="*/ 348 h 562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82" h="5620">
                    <a:moveTo>
                      <a:pt x="5145" y="4113"/>
                    </a:moveTo>
                    <a:cubicBezTo>
                      <a:pt x="5182" y="4328"/>
                      <a:pt x="5160" y="4127"/>
                      <a:pt x="5160" y="4127"/>
                    </a:cubicBezTo>
                    <a:cubicBezTo>
                      <a:pt x="5160" y="4127"/>
                      <a:pt x="4670" y="4105"/>
                      <a:pt x="4484" y="4135"/>
                    </a:cubicBezTo>
                    <a:cubicBezTo>
                      <a:pt x="4299" y="4113"/>
                      <a:pt x="4158" y="4231"/>
                      <a:pt x="4136" y="4343"/>
                    </a:cubicBezTo>
                    <a:cubicBezTo>
                      <a:pt x="4106" y="4506"/>
                      <a:pt x="4084" y="4573"/>
                      <a:pt x="3957" y="4617"/>
                    </a:cubicBezTo>
                    <a:cubicBezTo>
                      <a:pt x="3824" y="4699"/>
                      <a:pt x="3824" y="5048"/>
                      <a:pt x="3839" y="4915"/>
                    </a:cubicBezTo>
                    <a:cubicBezTo>
                      <a:pt x="3839" y="4915"/>
                      <a:pt x="3727" y="5107"/>
                      <a:pt x="3586" y="5093"/>
                    </a:cubicBezTo>
                    <a:cubicBezTo>
                      <a:pt x="3415" y="5078"/>
                      <a:pt x="3371" y="4759"/>
                      <a:pt x="3237" y="4788"/>
                    </a:cubicBezTo>
                    <a:cubicBezTo>
                      <a:pt x="3029" y="4788"/>
                      <a:pt x="2725" y="4892"/>
                      <a:pt x="2807" y="5308"/>
                    </a:cubicBezTo>
                    <a:cubicBezTo>
                      <a:pt x="2807" y="5516"/>
                      <a:pt x="2688" y="5620"/>
                      <a:pt x="2480" y="5449"/>
                    </a:cubicBezTo>
                    <a:cubicBezTo>
                      <a:pt x="2480" y="5449"/>
                      <a:pt x="2302" y="5211"/>
                      <a:pt x="2087" y="5115"/>
                    </a:cubicBezTo>
                    <a:cubicBezTo>
                      <a:pt x="1975" y="5078"/>
                      <a:pt x="1938" y="4966"/>
                      <a:pt x="2079" y="4974"/>
                    </a:cubicBezTo>
                    <a:cubicBezTo>
                      <a:pt x="2250" y="4937"/>
                      <a:pt x="2057" y="4721"/>
                      <a:pt x="2072" y="4580"/>
                    </a:cubicBezTo>
                    <a:cubicBezTo>
                      <a:pt x="2087" y="4424"/>
                      <a:pt x="2005" y="4231"/>
                      <a:pt x="1997" y="4090"/>
                    </a:cubicBezTo>
                    <a:cubicBezTo>
                      <a:pt x="2064" y="3496"/>
                      <a:pt x="1931" y="3600"/>
                      <a:pt x="1886" y="3325"/>
                    </a:cubicBezTo>
                    <a:cubicBezTo>
                      <a:pt x="1864" y="3214"/>
                      <a:pt x="1715" y="3207"/>
                      <a:pt x="1686" y="3051"/>
                    </a:cubicBezTo>
                    <a:cubicBezTo>
                      <a:pt x="1671" y="2955"/>
                      <a:pt x="1196" y="2360"/>
                      <a:pt x="1248" y="2524"/>
                    </a:cubicBezTo>
                    <a:cubicBezTo>
                      <a:pt x="1248" y="2435"/>
                      <a:pt x="1121" y="2464"/>
                      <a:pt x="1099" y="2464"/>
                    </a:cubicBezTo>
                    <a:lnTo>
                      <a:pt x="825" y="2464"/>
                    </a:lnTo>
                    <a:cubicBezTo>
                      <a:pt x="728" y="2464"/>
                      <a:pt x="669" y="2412"/>
                      <a:pt x="676" y="2301"/>
                    </a:cubicBezTo>
                    <a:cubicBezTo>
                      <a:pt x="691" y="2004"/>
                      <a:pt x="498" y="2049"/>
                      <a:pt x="498" y="1870"/>
                    </a:cubicBezTo>
                    <a:cubicBezTo>
                      <a:pt x="498" y="1848"/>
                      <a:pt x="490" y="1677"/>
                      <a:pt x="490" y="1588"/>
                    </a:cubicBezTo>
                    <a:cubicBezTo>
                      <a:pt x="490" y="1381"/>
                      <a:pt x="490" y="1373"/>
                      <a:pt x="156" y="1195"/>
                    </a:cubicBezTo>
                    <a:cubicBezTo>
                      <a:pt x="60" y="1150"/>
                      <a:pt x="0" y="928"/>
                      <a:pt x="45" y="928"/>
                    </a:cubicBezTo>
                    <a:cubicBezTo>
                      <a:pt x="141" y="928"/>
                      <a:pt x="149" y="1032"/>
                      <a:pt x="216" y="1032"/>
                    </a:cubicBezTo>
                    <a:cubicBezTo>
                      <a:pt x="275" y="1032"/>
                      <a:pt x="431" y="1017"/>
                      <a:pt x="483" y="1017"/>
                    </a:cubicBezTo>
                    <a:cubicBezTo>
                      <a:pt x="624" y="1017"/>
                      <a:pt x="565" y="1232"/>
                      <a:pt x="676" y="1232"/>
                    </a:cubicBezTo>
                    <a:cubicBezTo>
                      <a:pt x="721" y="1232"/>
                      <a:pt x="780" y="1172"/>
                      <a:pt x="884" y="1172"/>
                    </a:cubicBezTo>
                    <a:cubicBezTo>
                      <a:pt x="980" y="1172"/>
                      <a:pt x="1003" y="1210"/>
                      <a:pt x="1099" y="1210"/>
                    </a:cubicBezTo>
                    <a:cubicBezTo>
                      <a:pt x="1159" y="1210"/>
                      <a:pt x="1188" y="1158"/>
                      <a:pt x="1248" y="1158"/>
                    </a:cubicBezTo>
                    <a:cubicBezTo>
                      <a:pt x="1426" y="1158"/>
                      <a:pt x="1433" y="1470"/>
                      <a:pt x="1641" y="1470"/>
                    </a:cubicBezTo>
                    <a:cubicBezTo>
                      <a:pt x="1715" y="1470"/>
                      <a:pt x="1767" y="1381"/>
                      <a:pt x="1767" y="1343"/>
                    </a:cubicBezTo>
                    <a:cubicBezTo>
                      <a:pt x="1767" y="1306"/>
                      <a:pt x="1686" y="1254"/>
                      <a:pt x="1738" y="1128"/>
                    </a:cubicBezTo>
                    <a:cubicBezTo>
                      <a:pt x="1782" y="1017"/>
                      <a:pt x="1931" y="1091"/>
                      <a:pt x="1931" y="1091"/>
                    </a:cubicBezTo>
                    <a:cubicBezTo>
                      <a:pt x="1931" y="1091"/>
                      <a:pt x="1938" y="965"/>
                      <a:pt x="2035" y="950"/>
                    </a:cubicBezTo>
                    <a:cubicBezTo>
                      <a:pt x="2124" y="928"/>
                      <a:pt x="2153" y="1017"/>
                      <a:pt x="2235" y="1017"/>
                    </a:cubicBezTo>
                    <a:cubicBezTo>
                      <a:pt x="2317" y="1017"/>
                      <a:pt x="2317" y="965"/>
                      <a:pt x="2406" y="965"/>
                    </a:cubicBezTo>
                    <a:cubicBezTo>
                      <a:pt x="2458" y="965"/>
                      <a:pt x="2465" y="950"/>
                      <a:pt x="2517" y="950"/>
                    </a:cubicBezTo>
                    <a:cubicBezTo>
                      <a:pt x="2599" y="950"/>
                      <a:pt x="2606" y="876"/>
                      <a:pt x="2747" y="876"/>
                    </a:cubicBezTo>
                    <a:cubicBezTo>
                      <a:pt x="2844" y="839"/>
                      <a:pt x="2762" y="735"/>
                      <a:pt x="2963" y="720"/>
                    </a:cubicBezTo>
                    <a:cubicBezTo>
                      <a:pt x="3089" y="564"/>
                      <a:pt x="3267" y="698"/>
                      <a:pt x="3297" y="646"/>
                    </a:cubicBezTo>
                    <a:cubicBezTo>
                      <a:pt x="3460" y="319"/>
                      <a:pt x="3586" y="571"/>
                      <a:pt x="3638" y="260"/>
                    </a:cubicBezTo>
                    <a:cubicBezTo>
                      <a:pt x="3601" y="193"/>
                      <a:pt x="3586" y="119"/>
                      <a:pt x="3571" y="74"/>
                    </a:cubicBezTo>
                    <a:cubicBezTo>
                      <a:pt x="3631" y="52"/>
                      <a:pt x="3683" y="66"/>
                      <a:pt x="3816" y="66"/>
                    </a:cubicBezTo>
                    <a:cubicBezTo>
                      <a:pt x="3891" y="66"/>
                      <a:pt x="3920" y="0"/>
                      <a:pt x="3995" y="0"/>
                    </a:cubicBezTo>
                    <a:cubicBezTo>
                      <a:pt x="4121" y="0"/>
                      <a:pt x="4180" y="171"/>
                      <a:pt x="4143" y="326"/>
                    </a:cubicBezTo>
                    <a:cubicBezTo>
                      <a:pt x="4121" y="452"/>
                      <a:pt x="4061" y="475"/>
                      <a:pt x="4039" y="601"/>
                    </a:cubicBezTo>
                    <a:cubicBezTo>
                      <a:pt x="4032" y="683"/>
                      <a:pt x="4329" y="638"/>
                      <a:pt x="4373" y="683"/>
                    </a:cubicBezTo>
                    <a:cubicBezTo>
                      <a:pt x="4388" y="742"/>
                      <a:pt x="4410" y="809"/>
                      <a:pt x="4410" y="861"/>
                    </a:cubicBezTo>
                    <a:cubicBezTo>
                      <a:pt x="4410" y="972"/>
                      <a:pt x="4536" y="1061"/>
                      <a:pt x="4514" y="1172"/>
                    </a:cubicBezTo>
                    <a:cubicBezTo>
                      <a:pt x="4447" y="1410"/>
                      <a:pt x="4321" y="1321"/>
                      <a:pt x="4284" y="1432"/>
                    </a:cubicBezTo>
                    <a:cubicBezTo>
                      <a:pt x="4284" y="1484"/>
                      <a:pt x="4299" y="1603"/>
                      <a:pt x="4299" y="1625"/>
                    </a:cubicBezTo>
                    <a:cubicBezTo>
                      <a:pt x="4299" y="1818"/>
                      <a:pt x="4165" y="1781"/>
                      <a:pt x="4173" y="2108"/>
                    </a:cubicBezTo>
                    <a:cubicBezTo>
                      <a:pt x="4180" y="2546"/>
                      <a:pt x="4343" y="2420"/>
                      <a:pt x="4395" y="2561"/>
                    </a:cubicBezTo>
                    <a:cubicBezTo>
                      <a:pt x="4433" y="2665"/>
                      <a:pt x="4336" y="2724"/>
                      <a:pt x="4410" y="2821"/>
                    </a:cubicBezTo>
                    <a:cubicBezTo>
                      <a:pt x="4484" y="2932"/>
                      <a:pt x="4767" y="3236"/>
                      <a:pt x="4893" y="3274"/>
                    </a:cubicBezTo>
                    <a:cubicBezTo>
                      <a:pt x="4960" y="3288"/>
                      <a:pt x="5026" y="3244"/>
                      <a:pt x="5086" y="3363"/>
                    </a:cubicBezTo>
                    <a:cubicBezTo>
                      <a:pt x="5086" y="3363"/>
                      <a:pt x="5108" y="3897"/>
                      <a:pt x="5145" y="4113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159"/>
              <p:cNvSpPr>
                <a:spLocks/>
              </p:cNvSpPr>
              <p:nvPr/>
            </p:nvSpPr>
            <p:spPr bwMode="auto">
              <a:xfrm>
                <a:off x="5127385" y="1433943"/>
                <a:ext cx="589624" cy="654141"/>
              </a:xfrm>
              <a:custGeom>
                <a:avLst/>
                <a:gdLst>
                  <a:gd name="T0" fmla="*/ 225 w 4210"/>
                  <a:gd name="T1" fmla="*/ 396 h 4663"/>
                  <a:gd name="T2" fmla="*/ 258 w 4210"/>
                  <a:gd name="T3" fmla="*/ 328 h 4663"/>
                  <a:gd name="T4" fmla="*/ 302 w 4210"/>
                  <a:gd name="T5" fmla="*/ 296 h 4663"/>
                  <a:gd name="T6" fmla="*/ 336 w 4210"/>
                  <a:gd name="T7" fmla="*/ 253 h 4663"/>
                  <a:gd name="T8" fmla="*/ 354 w 4210"/>
                  <a:gd name="T9" fmla="*/ 222 h 4663"/>
                  <a:gd name="T10" fmla="*/ 319 w 4210"/>
                  <a:gd name="T11" fmla="*/ 189 h 4663"/>
                  <a:gd name="T12" fmla="*/ 305 w 4210"/>
                  <a:gd name="T13" fmla="*/ 170 h 4663"/>
                  <a:gd name="T14" fmla="*/ 298 w 4210"/>
                  <a:gd name="T15" fmla="*/ 170 h 4663"/>
                  <a:gd name="T16" fmla="*/ 296 w 4210"/>
                  <a:gd name="T17" fmla="*/ 153 h 4663"/>
                  <a:gd name="T18" fmla="*/ 271 w 4210"/>
                  <a:gd name="T19" fmla="*/ 83 h 4663"/>
                  <a:gd name="T20" fmla="*/ 240 w 4210"/>
                  <a:gd name="T21" fmla="*/ 8 h 4663"/>
                  <a:gd name="T22" fmla="*/ 235 w 4210"/>
                  <a:gd name="T23" fmla="*/ 14 h 4663"/>
                  <a:gd name="T24" fmla="*/ 236 w 4210"/>
                  <a:gd name="T25" fmla="*/ 26 h 4663"/>
                  <a:gd name="T26" fmla="*/ 227 w 4210"/>
                  <a:gd name="T27" fmla="*/ 23 h 4663"/>
                  <a:gd name="T28" fmla="*/ 221 w 4210"/>
                  <a:gd name="T29" fmla="*/ 40 h 4663"/>
                  <a:gd name="T30" fmla="*/ 186 w 4210"/>
                  <a:gd name="T31" fmla="*/ 87 h 4663"/>
                  <a:gd name="T32" fmla="*/ 171 w 4210"/>
                  <a:gd name="T33" fmla="*/ 115 h 4663"/>
                  <a:gd name="T34" fmla="*/ 156 w 4210"/>
                  <a:gd name="T35" fmla="*/ 143 h 4663"/>
                  <a:gd name="T36" fmla="*/ 128 w 4210"/>
                  <a:gd name="T37" fmla="*/ 164 h 4663"/>
                  <a:gd name="T38" fmla="*/ 112 w 4210"/>
                  <a:gd name="T39" fmla="*/ 163 h 4663"/>
                  <a:gd name="T40" fmla="*/ 108 w 4210"/>
                  <a:gd name="T41" fmla="*/ 154 h 4663"/>
                  <a:gd name="T42" fmla="*/ 88 w 4210"/>
                  <a:gd name="T43" fmla="*/ 159 h 4663"/>
                  <a:gd name="T44" fmla="*/ 72 w 4210"/>
                  <a:gd name="T45" fmla="*/ 154 h 4663"/>
                  <a:gd name="T46" fmla="*/ 40 w 4210"/>
                  <a:gd name="T47" fmla="*/ 166 h 4663"/>
                  <a:gd name="T48" fmla="*/ 1 w 4210"/>
                  <a:gd name="T49" fmla="*/ 151 h 4663"/>
                  <a:gd name="T50" fmla="*/ 0 w 4210"/>
                  <a:gd name="T51" fmla="*/ 182 h 4663"/>
                  <a:gd name="T52" fmla="*/ 30 w 4210"/>
                  <a:gd name="T53" fmla="*/ 183 h 4663"/>
                  <a:gd name="T54" fmla="*/ 54 w 4210"/>
                  <a:gd name="T55" fmla="*/ 201 h 4663"/>
                  <a:gd name="T56" fmla="*/ 67 w 4210"/>
                  <a:gd name="T57" fmla="*/ 211 h 4663"/>
                  <a:gd name="T58" fmla="*/ 77 w 4210"/>
                  <a:gd name="T59" fmla="*/ 211 h 4663"/>
                  <a:gd name="T60" fmla="*/ 98 w 4210"/>
                  <a:gd name="T61" fmla="*/ 245 h 4663"/>
                  <a:gd name="T62" fmla="*/ 120 w 4210"/>
                  <a:gd name="T63" fmla="*/ 256 h 4663"/>
                  <a:gd name="T64" fmla="*/ 125 w 4210"/>
                  <a:gd name="T65" fmla="*/ 306 h 4663"/>
                  <a:gd name="T66" fmla="*/ 131 w 4210"/>
                  <a:gd name="T67" fmla="*/ 323 h 4663"/>
                  <a:gd name="T68" fmla="*/ 158 w 4210"/>
                  <a:gd name="T69" fmla="*/ 345 h 4663"/>
                  <a:gd name="T70" fmla="*/ 158 w 4210"/>
                  <a:gd name="T71" fmla="*/ 351 h 4663"/>
                  <a:gd name="T72" fmla="*/ 193 w 4210"/>
                  <a:gd name="T73" fmla="*/ 396 h 4663"/>
                  <a:gd name="T74" fmla="*/ 225 w 4210"/>
                  <a:gd name="T75" fmla="*/ 396 h 466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210" h="4663">
                    <a:moveTo>
                      <a:pt x="2658" y="4663"/>
                    </a:moveTo>
                    <a:cubicBezTo>
                      <a:pt x="2628" y="4076"/>
                      <a:pt x="2881" y="4195"/>
                      <a:pt x="3037" y="3861"/>
                    </a:cubicBezTo>
                    <a:cubicBezTo>
                      <a:pt x="3170" y="3586"/>
                      <a:pt x="3445" y="3623"/>
                      <a:pt x="3556" y="3482"/>
                    </a:cubicBezTo>
                    <a:cubicBezTo>
                      <a:pt x="3712" y="3274"/>
                      <a:pt x="3838" y="2955"/>
                      <a:pt x="3957" y="2977"/>
                    </a:cubicBezTo>
                    <a:cubicBezTo>
                      <a:pt x="4106" y="3000"/>
                      <a:pt x="4165" y="2896"/>
                      <a:pt x="4180" y="2614"/>
                    </a:cubicBezTo>
                    <a:cubicBezTo>
                      <a:pt x="4210" y="2198"/>
                      <a:pt x="3957" y="2250"/>
                      <a:pt x="3764" y="2228"/>
                    </a:cubicBezTo>
                    <a:cubicBezTo>
                      <a:pt x="3630" y="2198"/>
                      <a:pt x="3638" y="2019"/>
                      <a:pt x="3601" y="1997"/>
                    </a:cubicBezTo>
                    <a:lnTo>
                      <a:pt x="3512" y="1997"/>
                    </a:lnTo>
                    <a:cubicBezTo>
                      <a:pt x="3497" y="1960"/>
                      <a:pt x="3504" y="1849"/>
                      <a:pt x="3489" y="1804"/>
                    </a:cubicBezTo>
                    <a:cubicBezTo>
                      <a:pt x="3370" y="1456"/>
                      <a:pt x="3252" y="1359"/>
                      <a:pt x="3200" y="980"/>
                    </a:cubicBezTo>
                    <a:cubicBezTo>
                      <a:pt x="3155" y="668"/>
                      <a:pt x="3096" y="119"/>
                      <a:pt x="2836" y="97"/>
                    </a:cubicBezTo>
                    <a:cubicBezTo>
                      <a:pt x="2703" y="0"/>
                      <a:pt x="2769" y="164"/>
                      <a:pt x="2769" y="164"/>
                    </a:cubicBezTo>
                    <a:cubicBezTo>
                      <a:pt x="2799" y="208"/>
                      <a:pt x="2725" y="216"/>
                      <a:pt x="2784" y="312"/>
                    </a:cubicBezTo>
                    <a:cubicBezTo>
                      <a:pt x="2784" y="312"/>
                      <a:pt x="2725" y="342"/>
                      <a:pt x="2680" y="268"/>
                    </a:cubicBezTo>
                    <a:cubicBezTo>
                      <a:pt x="2643" y="342"/>
                      <a:pt x="2680" y="468"/>
                      <a:pt x="2606" y="468"/>
                    </a:cubicBezTo>
                    <a:cubicBezTo>
                      <a:pt x="2398" y="498"/>
                      <a:pt x="2250" y="988"/>
                      <a:pt x="2190" y="1025"/>
                    </a:cubicBezTo>
                    <a:cubicBezTo>
                      <a:pt x="2034" y="1114"/>
                      <a:pt x="2108" y="1284"/>
                      <a:pt x="2012" y="1351"/>
                    </a:cubicBezTo>
                    <a:cubicBezTo>
                      <a:pt x="1915" y="1418"/>
                      <a:pt x="1930" y="1567"/>
                      <a:pt x="1841" y="1678"/>
                    </a:cubicBezTo>
                    <a:cubicBezTo>
                      <a:pt x="1745" y="1819"/>
                      <a:pt x="1619" y="1930"/>
                      <a:pt x="1507" y="1930"/>
                    </a:cubicBezTo>
                    <a:cubicBezTo>
                      <a:pt x="1418" y="1930"/>
                      <a:pt x="1351" y="1938"/>
                      <a:pt x="1322" y="1916"/>
                    </a:cubicBezTo>
                    <a:lnTo>
                      <a:pt x="1270" y="1819"/>
                    </a:lnTo>
                    <a:cubicBezTo>
                      <a:pt x="1151" y="1797"/>
                      <a:pt x="1136" y="1878"/>
                      <a:pt x="1040" y="1878"/>
                    </a:cubicBezTo>
                    <a:cubicBezTo>
                      <a:pt x="950" y="1878"/>
                      <a:pt x="943" y="1812"/>
                      <a:pt x="854" y="1812"/>
                    </a:cubicBezTo>
                    <a:cubicBezTo>
                      <a:pt x="683" y="1812"/>
                      <a:pt x="750" y="1990"/>
                      <a:pt x="468" y="1953"/>
                    </a:cubicBezTo>
                    <a:cubicBezTo>
                      <a:pt x="275" y="1930"/>
                      <a:pt x="215" y="1760"/>
                      <a:pt x="15" y="1782"/>
                    </a:cubicBezTo>
                    <a:lnTo>
                      <a:pt x="0" y="2138"/>
                    </a:lnTo>
                    <a:cubicBezTo>
                      <a:pt x="119" y="2198"/>
                      <a:pt x="223" y="2116"/>
                      <a:pt x="349" y="2153"/>
                    </a:cubicBezTo>
                    <a:cubicBezTo>
                      <a:pt x="483" y="2191"/>
                      <a:pt x="550" y="2368"/>
                      <a:pt x="631" y="2368"/>
                    </a:cubicBezTo>
                    <a:cubicBezTo>
                      <a:pt x="705" y="2368"/>
                      <a:pt x="750" y="2487"/>
                      <a:pt x="795" y="2487"/>
                    </a:cubicBezTo>
                    <a:lnTo>
                      <a:pt x="906" y="2487"/>
                    </a:lnTo>
                    <a:cubicBezTo>
                      <a:pt x="1121" y="2487"/>
                      <a:pt x="1077" y="2673"/>
                      <a:pt x="1151" y="2888"/>
                    </a:cubicBezTo>
                    <a:cubicBezTo>
                      <a:pt x="1195" y="2992"/>
                      <a:pt x="1388" y="2955"/>
                      <a:pt x="1418" y="3014"/>
                    </a:cubicBezTo>
                    <a:cubicBezTo>
                      <a:pt x="1485" y="3155"/>
                      <a:pt x="1470" y="3467"/>
                      <a:pt x="1470" y="3601"/>
                    </a:cubicBezTo>
                    <a:cubicBezTo>
                      <a:pt x="1470" y="3675"/>
                      <a:pt x="1537" y="3720"/>
                      <a:pt x="1544" y="3801"/>
                    </a:cubicBezTo>
                    <a:cubicBezTo>
                      <a:pt x="1700" y="3801"/>
                      <a:pt x="1864" y="3935"/>
                      <a:pt x="1864" y="4061"/>
                    </a:cubicBezTo>
                    <a:lnTo>
                      <a:pt x="1864" y="4135"/>
                    </a:lnTo>
                    <a:cubicBezTo>
                      <a:pt x="1864" y="4292"/>
                      <a:pt x="2079" y="4581"/>
                      <a:pt x="2272" y="4663"/>
                    </a:cubicBezTo>
                    <a:lnTo>
                      <a:pt x="2658" y="466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160"/>
              <p:cNvSpPr>
                <a:spLocks/>
              </p:cNvSpPr>
              <p:nvPr/>
            </p:nvSpPr>
            <p:spPr bwMode="auto">
              <a:xfrm>
                <a:off x="4621993" y="1656946"/>
                <a:ext cx="1554163" cy="1463559"/>
              </a:xfrm>
              <a:custGeom>
                <a:avLst/>
                <a:gdLst>
                  <a:gd name="T0" fmla="*/ 935 w 11106"/>
                  <a:gd name="T1" fmla="*/ 267 h 10460"/>
                  <a:gd name="T2" fmla="*/ 922 w 11106"/>
                  <a:gd name="T3" fmla="*/ 259 h 10460"/>
                  <a:gd name="T4" fmla="*/ 892 w 11106"/>
                  <a:gd name="T5" fmla="*/ 248 h 10460"/>
                  <a:gd name="T6" fmla="*/ 877 w 11106"/>
                  <a:gd name="T7" fmla="*/ 241 h 10460"/>
                  <a:gd name="T8" fmla="*/ 844 w 11106"/>
                  <a:gd name="T9" fmla="*/ 234 h 10460"/>
                  <a:gd name="T10" fmla="*/ 813 w 11106"/>
                  <a:gd name="T11" fmla="*/ 235 h 10460"/>
                  <a:gd name="T12" fmla="*/ 774 w 11106"/>
                  <a:gd name="T13" fmla="*/ 259 h 10460"/>
                  <a:gd name="T14" fmla="*/ 738 w 11106"/>
                  <a:gd name="T15" fmla="*/ 304 h 10460"/>
                  <a:gd name="T16" fmla="*/ 685 w 11106"/>
                  <a:gd name="T17" fmla="*/ 371 h 10460"/>
                  <a:gd name="T18" fmla="*/ 682 w 11106"/>
                  <a:gd name="T19" fmla="*/ 319 h 10460"/>
                  <a:gd name="T20" fmla="*/ 650 w 11106"/>
                  <a:gd name="T21" fmla="*/ 316 h 10460"/>
                  <a:gd name="T22" fmla="*/ 593 w 11106"/>
                  <a:gd name="T23" fmla="*/ 274 h 10460"/>
                  <a:gd name="T24" fmla="*/ 584 w 11106"/>
                  <a:gd name="T25" fmla="*/ 251 h 10460"/>
                  <a:gd name="T26" fmla="*/ 510 w 11106"/>
                  <a:gd name="T27" fmla="*/ 286 h 10460"/>
                  <a:gd name="T28" fmla="*/ 499 w 11106"/>
                  <a:gd name="T29" fmla="*/ 260 h 10460"/>
                  <a:gd name="T30" fmla="*/ 464 w 11106"/>
                  <a:gd name="T31" fmla="*/ 209 h 10460"/>
                  <a:gd name="T32" fmla="*/ 431 w 11106"/>
                  <a:gd name="T33" fmla="*/ 170 h 10460"/>
                  <a:gd name="T34" fmla="*/ 404 w 11106"/>
                  <a:gd name="T35" fmla="*/ 110 h 10460"/>
                  <a:gd name="T36" fmla="*/ 374 w 11106"/>
                  <a:gd name="T37" fmla="*/ 76 h 10460"/>
                  <a:gd name="T38" fmla="*/ 336 w 11106"/>
                  <a:gd name="T39" fmla="*/ 48 h 10460"/>
                  <a:gd name="T40" fmla="*/ 308 w 11106"/>
                  <a:gd name="T41" fmla="*/ 16 h 10460"/>
                  <a:gd name="T42" fmla="*/ 286 w 11106"/>
                  <a:gd name="T43" fmla="*/ 1 h 10460"/>
                  <a:gd name="T44" fmla="*/ 214 w 11106"/>
                  <a:gd name="T45" fmla="*/ 11 h 10460"/>
                  <a:gd name="T46" fmla="*/ 221 w 11106"/>
                  <a:gd name="T47" fmla="*/ 47 h 10460"/>
                  <a:gd name="T48" fmla="*/ 170 w 11106"/>
                  <a:gd name="T49" fmla="*/ 46 h 10460"/>
                  <a:gd name="T50" fmla="*/ 129 w 11106"/>
                  <a:gd name="T51" fmla="*/ 44 h 10460"/>
                  <a:gd name="T52" fmla="*/ 80 w 11106"/>
                  <a:gd name="T53" fmla="*/ 65 h 10460"/>
                  <a:gd name="T54" fmla="*/ 48 w 11106"/>
                  <a:gd name="T55" fmla="*/ 75 h 10460"/>
                  <a:gd name="T56" fmla="*/ 0 w 11106"/>
                  <a:gd name="T57" fmla="*/ 97 h 10460"/>
                  <a:gd name="T58" fmla="*/ 14 w 11106"/>
                  <a:gd name="T59" fmla="*/ 221 h 10460"/>
                  <a:gd name="T60" fmla="*/ 53 w 11106"/>
                  <a:gd name="T61" fmla="*/ 279 h 10460"/>
                  <a:gd name="T62" fmla="*/ 85 w 11106"/>
                  <a:gd name="T63" fmla="*/ 300 h 10460"/>
                  <a:gd name="T64" fmla="*/ 149 w 11106"/>
                  <a:gd name="T65" fmla="*/ 321 h 10460"/>
                  <a:gd name="T66" fmla="*/ 186 w 11106"/>
                  <a:gd name="T67" fmla="*/ 353 h 10460"/>
                  <a:gd name="T68" fmla="*/ 49 w 11106"/>
                  <a:gd name="T69" fmla="*/ 675 h 10460"/>
                  <a:gd name="T70" fmla="*/ 99 w 11106"/>
                  <a:gd name="T71" fmla="*/ 799 h 10460"/>
                  <a:gd name="T72" fmla="*/ 142 w 11106"/>
                  <a:gd name="T73" fmla="*/ 838 h 10460"/>
                  <a:gd name="T74" fmla="*/ 633 w 11106"/>
                  <a:gd name="T75" fmla="*/ 886 h 10460"/>
                  <a:gd name="T76" fmla="*/ 708 w 11106"/>
                  <a:gd name="T77" fmla="*/ 760 h 10460"/>
                  <a:gd name="T78" fmla="*/ 709 w 11106"/>
                  <a:gd name="T79" fmla="*/ 688 h 10460"/>
                  <a:gd name="T80" fmla="*/ 750 w 11106"/>
                  <a:gd name="T81" fmla="*/ 652 h 10460"/>
                  <a:gd name="T82" fmla="*/ 776 w 11106"/>
                  <a:gd name="T83" fmla="*/ 607 h 10460"/>
                  <a:gd name="T84" fmla="*/ 767 w 11106"/>
                  <a:gd name="T85" fmla="*/ 571 h 10460"/>
                  <a:gd name="T86" fmla="*/ 763 w 11106"/>
                  <a:gd name="T87" fmla="*/ 551 h 10460"/>
                  <a:gd name="T88" fmla="*/ 824 w 11106"/>
                  <a:gd name="T89" fmla="*/ 512 h 10460"/>
                  <a:gd name="T90" fmla="*/ 864 w 11106"/>
                  <a:gd name="T91" fmla="*/ 465 h 10460"/>
                  <a:gd name="T92" fmla="*/ 901 w 11106"/>
                  <a:gd name="T93" fmla="*/ 392 h 10460"/>
                  <a:gd name="T94" fmla="*/ 933 w 11106"/>
                  <a:gd name="T95" fmla="*/ 320 h 10460"/>
                  <a:gd name="T96" fmla="*/ 941 w 11106"/>
                  <a:gd name="T97" fmla="*/ 268 h 104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1106" h="10460">
                    <a:moveTo>
                      <a:pt x="11106" y="3162"/>
                    </a:moveTo>
                    <a:cubicBezTo>
                      <a:pt x="11084" y="3155"/>
                      <a:pt x="11061" y="3155"/>
                      <a:pt x="11032" y="3155"/>
                    </a:cubicBezTo>
                    <a:cubicBezTo>
                      <a:pt x="11039" y="3103"/>
                      <a:pt x="11009" y="3140"/>
                      <a:pt x="10995" y="3044"/>
                    </a:cubicBezTo>
                    <a:cubicBezTo>
                      <a:pt x="10868" y="3007"/>
                      <a:pt x="10883" y="3059"/>
                      <a:pt x="10883" y="3059"/>
                    </a:cubicBezTo>
                    <a:cubicBezTo>
                      <a:pt x="10883" y="3118"/>
                      <a:pt x="10794" y="2955"/>
                      <a:pt x="10668" y="3014"/>
                    </a:cubicBezTo>
                    <a:cubicBezTo>
                      <a:pt x="10646" y="2873"/>
                      <a:pt x="10646" y="2933"/>
                      <a:pt x="10527" y="2933"/>
                    </a:cubicBezTo>
                    <a:cubicBezTo>
                      <a:pt x="10475" y="2933"/>
                      <a:pt x="10512" y="2910"/>
                      <a:pt x="10416" y="2933"/>
                    </a:cubicBezTo>
                    <a:cubicBezTo>
                      <a:pt x="10416" y="2888"/>
                      <a:pt x="10364" y="2918"/>
                      <a:pt x="10356" y="2843"/>
                    </a:cubicBezTo>
                    <a:cubicBezTo>
                      <a:pt x="10259" y="2784"/>
                      <a:pt x="10274" y="2866"/>
                      <a:pt x="10193" y="2836"/>
                    </a:cubicBezTo>
                    <a:cubicBezTo>
                      <a:pt x="10141" y="2829"/>
                      <a:pt x="10104" y="2740"/>
                      <a:pt x="9963" y="2762"/>
                    </a:cubicBezTo>
                    <a:cubicBezTo>
                      <a:pt x="9688" y="2821"/>
                      <a:pt x="9836" y="2703"/>
                      <a:pt x="9777" y="2695"/>
                    </a:cubicBezTo>
                    <a:cubicBezTo>
                      <a:pt x="9621" y="2680"/>
                      <a:pt x="9703" y="2784"/>
                      <a:pt x="9591" y="2777"/>
                    </a:cubicBezTo>
                    <a:cubicBezTo>
                      <a:pt x="9510" y="2762"/>
                      <a:pt x="9510" y="2821"/>
                      <a:pt x="9436" y="2777"/>
                    </a:cubicBezTo>
                    <a:cubicBezTo>
                      <a:pt x="9391" y="2740"/>
                      <a:pt x="9176" y="3014"/>
                      <a:pt x="9131" y="3059"/>
                    </a:cubicBezTo>
                    <a:cubicBezTo>
                      <a:pt x="9012" y="3192"/>
                      <a:pt x="9072" y="3326"/>
                      <a:pt x="9049" y="3378"/>
                    </a:cubicBezTo>
                    <a:cubicBezTo>
                      <a:pt x="8790" y="3378"/>
                      <a:pt x="8856" y="3511"/>
                      <a:pt x="8708" y="3593"/>
                    </a:cubicBezTo>
                    <a:cubicBezTo>
                      <a:pt x="8552" y="3682"/>
                      <a:pt x="8827" y="3719"/>
                      <a:pt x="8381" y="3860"/>
                    </a:cubicBezTo>
                    <a:cubicBezTo>
                      <a:pt x="8292" y="3883"/>
                      <a:pt x="8188" y="4454"/>
                      <a:pt x="8084" y="4380"/>
                    </a:cubicBezTo>
                    <a:cubicBezTo>
                      <a:pt x="7966" y="4365"/>
                      <a:pt x="8374" y="3771"/>
                      <a:pt x="8359" y="3682"/>
                    </a:cubicBezTo>
                    <a:cubicBezTo>
                      <a:pt x="8329" y="3556"/>
                      <a:pt x="8047" y="3727"/>
                      <a:pt x="8047" y="3771"/>
                    </a:cubicBezTo>
                    <a:cubicBezTo>
                      <a:pt x="7951" y="3771"/>
                      <a:pt x="7899" y="3771"/>
                      <a:pt x="7869" y="3816"/>
                    </a:cubicBezTo>
                    <a:cubicBezTo>
                      <a:pt x="7817" y="3898"/>
                      <a:pt x="7750" y="3727"/>
                      <a:pt x="7669" y="3727"/>
                    </a:cubicBezTo>
                    <a:cubicBezTo>
                      <a:pt x="7565" y="3727"/>
                      <a:pt x="7431" y="3816"/>
                      <a:pt x="7364" y="3875"/>
                    </a:cubicBezTo>
                    <a:cubicBezTo>
                      <a:pt x="7298" y="3935"/>
                      <a:pt x="7000" y="3497"/>
                      <a:pt x="7000" y="3237"/>
                    </a:cubicBezTo>
                    <a:cubicBezTo>
                      <a:pt x="7000" y="3215"/>
                      <a:pt x="6889" y="3192"/>
                      <a:pt x="6941" y="3111"/>
                    </a:cubicBezTo>
                    <a:cubicBezTo>
                      <a:pt x="7008" y="3022"/>
                      <a:pt x="6963" y="2940"/>
                      <a:pt x="6897" y="2969"/>
                    </a:cubicBezTo>
                    <a:cubicBezTo>
                      <a:pt x="6741" y="3022"/>
                      <a:pt x="6347" y="3474"/>
                      <a:pt x="6132" y="3452"/>
                    </a:cubicBezTo>
                    <a:cubicBezTo>
                      <a:pt x="6087" y="3452"/>
                      <a:pt x="6021" y="3445"/>
                      <a:pt x="6021" y="3378"/>
                    </a:cubicBezTo>
                    <a:cubicBezTo>
                      <a:pt x="6021" y="3096"/>
                      <a:pt x="6280" y="3215"/>
                      <a:pt x="6273" y="3074"/>
                    </a:cubicBezTo>
                    <a:lnTo>
                      <a:pt x="5887" y="3074"/>
                    </a:lnTo>
                    <a:cubicBezTo>
                      <a:pt x="5694" y="2992"/>
                      <a:pt x="5479" y="2703"/>
                      <a:pt x="5479" y="2546"/>
                    </a:cubicBezTo>
                    <a:lnTo>
                      <a:pt x="5479" y="2472"/>
                    </a:lnTo>
                    <a:cubicBezTo>
                      <a:pt x="5479" y="2346"/>
                      <a:pt x="5315" y="2212"/>
                      <a:pt x="5159" y="2212"/>
                    </a:cubicBezTo>
                    <a:cubicBezTo>
                      <a:pt x="5152" y="2131"/>
                      <a:pt x="5085" y="2086"/>
                      <a:pt x="5085" y="2012"/>
                    </a:cubicBezTo>
                    <a:cubicBezTo>
                      <a:pt x="5085" y="1878"/>
                      <a:pt x="5100" y="1566"/>
                      <a:pt x="5033" y="1425"/>
                    </a:cubicBezTo>
                    <a:cubicBezTo>
                      <a:pt x="5003" y="1366"/>
                      <a:pt x="4810" y="1403"/>
                      <a:pt x="4766" y="1299"/>
                    </a:cubicBezTo>
                    <a:cubicBezTo>
                      <a:pt x="4692" y="1084"/>
                      <a:pt x="4736" y="898"/>
                      <a:pt x="4521" y="898"/>
                    </a:cubicBezTo>
                    <a:lnTo>
                      <a:pt x="4410" y="898"/>
                    </a:lnTo>
                    <a:cubicBezTo>
                      <a:pt x="4365" y="898"/>
                      <a:pt x="4320" y="779"/>
                      <a:pt x="4246" y="779"/>
                    </a:cubicBezTo>
                    <a:cubicBezTo>
                      <a:pt x="4165" y="779"/>
                      <a:pt x="4098" y="602"/>
                      <a:pt x="3964" y="564"/>
                    </a:cubicBezTo>
                    <a:cubicBezTo>
                      <a:pt x="3838" y="527"/>
                      <a:pt x="3734" y="609"/>
                      <a:pt x="3615" y="549"/>
                    </a:cubicBezTo>
                    <a:lnTo>
                      <a:pt x="3630" y="193"/>
                    </a:lnTo>
                    <a:cubicBezTo>
                      <a:pt x="3630" y="193"/>
                      <a:pt x="3623" y="111"/>
                      <a:pt x="3548" y="89"/>
                    </a:cubicBezTo>
                    <a:cubicBezTo>
                      <a:pt x="3400" y="74"/>
                      <a:pt x="3496" y="15"/>
                      <a:pt x="3370" y="15"/>
                    </a:cubicBezTo>
                    <a:cubicBezTo>
                      <a:pt x="3133" y="15"/>
                      <a:pt x="3229" y="186"/>
                      <a:pt x="2806" y="141"/>
                    </a:cubicBezTo>
                    <a:cubicBezTo>
                      <a:pt x="2732" y="134"/>
                      <a:pt x="2591" y="0"/>
                      <a:pt x="2531" y="134"/>
                    </a:cubicBezTo>
                    <a:cubicBezTo>
                      <a:pt x="2494" y="215"/>
                      <a:pt x="2464" y="200"/>
                      <a:pt x="2442" y="260"/>
                    </a:cubicBezTo>
                    <a:cubicBezTo>
                      <a:pt x="2464" y="416"/>
                      <a:pt x="2606" y="386"/>
                      <a:pt x="2606" y="549"/>
                    </a:cubicBezTo>
                    <a:cubicBezTo>
                      <a:pt x="2606" y="646"/>
                      <a:pt x="2531" y="624"/>
                      <a:pt x="2457" y="624"/>
                    </a:cubicBezTo>
                    <a:cubicBezTo>
                      <a:pt x="2257" y="624"/>
                      <a:pt x="2205" y="542"/>
                      <a:pt x="2012" y="542"/>
                    </a:cubicBezTo>
                    <a:cubicBezTo>
                      <a:pt x="1937" y="542"/>
                      <a:pt x="1893" y="587"/>
                      <a:pt x="1789" y="587"/>
                    </a:cubicBezTo>
                    <a:cubicBezTo>
                      <a:pt x="1618" y="587"/>
                      <a:pt x="1692" y="520"/>
                      <a:pt x="1522" y="520"/>
                    </a:cubicBezTo>
                    <a:cubicBezTo>
                      <a:pt x="1344" y="520"/>
                      <a:pt x="1321" y="631"/>
                      <a:pt x="1225" y="705"/>
                    </a:cubicBezTo>
                    <a:cubicBezTo>
                      <a:pt x="1128" y="779"/>
                      <a:pt x="1054" y="743"/>
                      <a:pt x="950" y="772"/>
                    </a:cubicBezTo>
                    <a:cubicBezTo>
                      <a:pt x="839" y="809"/>
                      <a:pt x="854" y="920"/>
                      <a:pt x="683" y="920"/>
                    </a:cubicBezTo>
                    <a:cubicBezTo>
                      <a:pt x="638" y="928"/>
                      <a:pt x="623" y="891"/>
                      <a:pt x="572" y="884"/>
                    </a:cubicBezTo>
                    <a:cubicBezTo>
                      <a:pt x="356" y="846"/>
                      <a:pt x="408" y="1114"/>
                      <a:pt x="312" y="1114"/>
                    </a:cubicBezTo>
                    <a:cubicBezTo>
                      <a:pt x="133" y="1114"/>
                      <a:pt x="52" y="1255"/>
                      <a:pt x="0" y="1151"/>
                    </a:cubicBezTo>
                    <a:cubicBezTo>
                      <a:pt x="0" y="1151"/>
                      <a:pt x="29" y="1700"/>
                      <a:pt x="74" y="1915"/>
                    </a:cubicBezTo>
                    <a:cubicBezTo>
                      <a:pt x="74" y="1915"/>
                      <a:pt x="148" y="2561"/>
                      <a:pt x="171" y="2606"/>
                    </a:cubicBezTo>
                    <a:cubicBezTo>
                      <a:pt x="208" y="2665"/>
                      <a:pt x="467" y="3111"/>
                      <a:pt x="467" y="3111"/>
                    </a:cubicBezTo>
                    <a:cubicBezTo>
                      <a:pt x="467" y="3111"/>
                      <a:pt x="482" y="3304"/>
                      <a:pt x="623" y="3296"/>
                    </a:cubicBezTo>
                    <a:cubicBezTo>
                      <a:pt x="683" y="3363"/>
                      <a:pt x="735" y="3489"/>
                      <a:pt x="735" y="3489"/>
                    </a:cubicBezTo>
                    <a:cubicBezTo>
                      <a:pt x="824" y="3593"/>
                      <a:pt x="883" y="3511"/>
                      <a:pt x="1009" y="3541"/>
                    </a:cubicBezTo>
                    <a:cubicBezTo>
                      <a:pt x="1128" y="3564"/>
                      <a:pt x="1217" y="3653"/>
                      <a:pt x="1329" y="3564"/>
                    </a:cubicBezTo>
                    <a:cubicBezTo>
                      <a:pt x="1559" y="3564"/>
                      <a:pt x="1759" y="3794"/>
                      <a:pt x="1759" y="3794"/>
                    </a:cubicBezTo>
                    <a:cubicBezTo>
                      <a:pt x="1975" y="3838"/>
                      <a:pt x="1878" y="3972"/>
                      <a:pt x="2071" y="3957"/>
                    </a:cubicBezTo>
                    <a:cubicBezTo>
                      <a:pt x="2212" y="3935"/>
                      <a:pt x="2190" y="4165"/>
                      <a:pt x="2190" y="4165"/>
                    </a:cubicBezTo>
                    <a:lnTo>
                      <a:pt x="579" y="7780"/>
                    </a:lnTo>
                    <a:cubicBezTo>
                      <a:pt x="579" y="7780"/>
                      <a:pt x="490" y="7936"/>
                      <a:pt x="579" y="7973"/>
                    </a:cubicBezTo>
                    <a:cubicBezTo>
                      <a:pt x="742" y="8032"/>
                      <a:pt x="802" y="8292"/>
                      <a:pt x="765" y="8344"/>
                    </a:cubicBezTo>
                    <a:cubicBezTo>
                      <a:pt x="1054" y="8627"/>
                      <a:pt x="1106" y="8953"/>
                      <a:pt x="1173" y="9428"/>
                    </a:cubicBezTo>
                    <a:cubicBezTo>
                      <a:pt x="1188" y="9592"/>
                      <a:pt x="1410" y="9659"/>
                      <a:pt x="1566" y="9710"/>
                    </a:cubicBezTo>
                    <a:cubicBezTo>
                      <a:pt x="1648" y="9733"/>
                      <a:pt x="1655" y="9844"/>
                      <a:pt x="1678" y="9896"/>
                    </a:cubicBezTo>
                    <a:cubicBezTo>
                      <a:pt x="1745" y="10037"/>
                      <a:pt x="1878" y="10030"/>
                      <a:pt x="1952" y="10163"/>
                    </a:cubicBezTo>
                    <a:lnTo>
                      <a:pt x="7468" y="10460"/>
                    </a:lnTo>
                    <a:cubicBezTo>
                      <a:pt x="7468" y="10460"/>
                      <a:pt x="7535" y="9970"/>
                      <a:pt x="7936" y="9673"/>
                    </a:cubicBezTo>
                    <a:cubicBezTo>
                      <a:pt x="8121" y="9606"/>
                      <a:pt x="8278" y="9191"/>
                      <a:pt x="8359" y="8975"/>
                    </a:cubicBezTo>
                    <a:cubicBezTo>
                      <a:pt x="8478" y="8656"/>
                      <a:pt x="8240" y="8760"/>
                      <a:pt x="8240" y="8582"/>
                    </a:cubicBezTo>
                    <a:cubicBezTo>
                      <a:pt x="8240" y="8448"/>
                      <a:pt x="8418" y="8344"/>
                      <a:pt x="8366" y="8122"/>
                    </a:cubicBezTo>
                    <a:cubicBezTo>
                      <a:pt x="8315" y="7936"/>
                      <a:pt x="8611" y="7877"/>
                      <a:pt x="8723" y="7854"/>
                    </a:cubicBezTo>
                    <a:cubicBezTo>
                      <a:pt x="8849" y="7832"/>
                      <a:pt x="8819" y="7795"/>
                      <a:pt x="8849" y="7699"/>
                    </a:cubicBezTo>
                    <a:cubicBezTo>
                      <a:pt x="8871" y="7580"/>
                      <a:pt x="9005" y="7632"/>
                      <a:pt x="9020" y="7446"/>
                    </a:cubicBezTo>
                    <a:cubicBezTo>
                      <a:pt x="9012" y="7394"/>
                      <a:pt x="9154" y="7409"/>
                      <a:pt x="9161" y="7171"/>
                    </a:cubicBezTo>
                    <a:cubicBezTo>
                      <a:pt x="9161" y="6978"/>
                      <a:pt x="9309" y="6956"/>
                      <a:pt x="9257" y="6904"/>
                    </a:cubicBezTo>
                    <a:cubicBezTo>
                      <a:pt x="9176" y="6830"/>
                      <a:pt x="9138" y="6741"/>
                      <a:pt x="9049" y="6741"/>
                    </a:cubicBezTo>
                    <a:cubicBezTo>
                      <a:pt x="8983" y="6733"/>
                      <a:pt x="8849" y="6741"/>
                      <a:pt x="8849" y="6667"/>
                    </a:cubicBezTo>
                    <a:cubicBezTo>
                      <a:pt x="8849" y="6600"/>
                      <a:pt x="8931" y="6555"/>
                      <a:pt x="9005" y="6503"/>
                    </a:cubicBezTo>
                    <a:cubicBezTo>
                      <a:pt x="9124" y="6407"/>
                      <a:pt x="9495" y="6110"/>
                      <a:pt x="9554" y="6095"/>
                    </a:cubicBezTo>
                    <a:cubicBezTo>
                      <a:pt x="9658" y="6058"/>
                      <a:pt x="9606" y="6095"/>
                      <a:pt x="9725" y="6050"/>
                    </a:cubicBezTo>
                    <a:cubicBezTo>
                      <a:pt x="9799" y="6036"/>
                      <a:pt x="9911" y="5798"/>
                      <a:pt x="9977" y="5739"/>
                    </a:cubicBezTo>
                    <a:cubicBezTo>
                      <a:pt x="10119" y="5583"/>
                      <a:pt x="10059" y="5538"/>
                      <a:pt x="10200" y="5486"/>
                    </a:cubicBezTo>
                    <a:cubicBezTo>
                      <a:pt x="10311" y="5434"/>
                      <a:pt x="10156" y="5152"/>
                      <a:pt x="10512" y="4937"/>
                    </a:cubicBezTo>
                    <a:cubicBezTo>
                      <a:pt x="10601" y="4885"/>
                      <a:pt x="10638" y="4625"/>
                      <a:pt x="10638" y="4625"/>
                    </a:cubicBezTo>
                    <a:cubicBezTo>
                      <a:pt x="10564" y="4328"/>
                      <a:pt x="10846" y="4484"/>
                      <a:pt x="10831" y="4091"/>
                    </a:cubicBezTo>
                    <a:cubicBezTo>
                      <a:pt x="10824" y="4046"/>
                      <a:pt x="10920" y="4113"/>
                      <a:pt x="11017" y="3779"/>
                    </a:cubicBezTo>
                    <a:cubicBezTo>
                      <a:pt x="11039" y="3690"/>
                      <a:pt x="10905" y="3697"/>
                      <a:pt x="11002" y="3578"/>
                    </a:cubicBezTo>
                    <a:cubicBezTo>
                      <a:pt x="11076" y="3489"/>
                      <a:pt x="11084" y="3229"/>
                      <a:pt x="11106" y="3162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161"/>
              <p:cNvSpPr>
                <a:spLocks/>
              </p:cNvSpPr>
              <p:nvPr/>
            </p:nvSpPr>
            <p:spPr bwMode="auto">
              <a:xfrm>
                <a:off x="6164594" y="2311087"/>
                <a:ext cx="673856" cy="949826"/>
              </a:xfrm>
              <a:custGeom>
                <a:avLst/>
                <a:gdLst>
                  <a:gd name="T0" fmla="*/ 362 w 4818"/>
                  <a:gd name="T1" fmla="*/ 13 h 6786"/>
                  <a:gd name="T2" fmla="*/ 348 w 4818"/>
                  <a:gd name="T3" fmla="*/ 36 h 6786"/>
                  <a:gd name="T4" fmla="*/ 355 w 4818"/>
                  <a:gd name="T5" fmla="*/ 48 h 6786"/>
                  <a:gd name="T6" fmla="*/ 347 w 4818"/>
                  <a:gd name="T7" fmla="*/ 60 h 6786"/>
                  <a:gd name="T8" fmla="*/ 359 w 4818"/>
                  <a:gd name="T9" fmla="*/ 92 h 6786"/>
                  <a:gd name="T10" fmla="*/ 366 w 4818"/>
                  <a:gd name="T11" fmla="*/ 111 h 6786"/>
                  <a:gd name="T12" fmla="*/ 359 w 4818"/>
                  <a:gd name="T13" fmla="*/ 136 h 6786"/>
                  <a:gd name="T14" fmla="*/ 368 w 4818"/>
                  <a:gd name="T15" fmla="*/ 174 h 6786"/>
                  <a:gd name="T16" fmla="*/ 365 w 4818"/>
                  <a:gd name="T17" fmla="*/ 206 h 6786"/>
                  <a:gd name="T18" fmla="*/ 380 w 4818"/>
                  <a:gd name="T19" fmla="*/ 234 h 6786"/>
                  <a:gd name="T20" fmla="*/ 385 w 4818"/>
                  <a:gd name="T21" fmla="*/ 265 h 6786"/>
                  <a:gd name="T22" fmla="*/ 408 w 4818"/>
                  <a:gd name="T23" fmla="*/ 300 h 6786"/>
                  <a:gd name="T24" fmla="*/ 398 w 4818"/>
                  <a:gd name="T25" fmla="*/ 322 h 6786"/>
                  <a:gd name="T26" fmla="*/ 395 w 4818"/>
                  <a:gd name="T27" fmla="*/ 336 h 6786"/>
                  <a:gd name="T28" fmla="*/ 389 w 4818"/>
                  <a:gd name="T29" fmla="*/ 355 h 6786"/>
                  <a:gd name="T30" fmla="*/ 397 w 4818"/>
                  <a:gd name="T31" fmla="*/ 387 h 6786"/>
                  <a:gd name="T32" fmla="*/ 357 w 4818"/>
                  <a:gd name="T33" fmla="*/ 415 h 6786"/>
                  <a:gd name="T34" fmla="*/ 328 w 4818"/>
                  <a:gd name="T35" fmla="*/ 443 h 6786"/>
                  <a:gd name="T36" fmla="*/ 309 w 4818"/>
                  <a:gd name="T37" fmla="*/ 455 h 6786"/>
                  <a:gd name="T38" fmla="*/ 287 w 4818"/>
                  <a:gd name="T39" fmla="*/ 467 h 6786"/>
                  <a:gd name="T40" fmla="*/ 238 w 4818"/>
                  <a:gd name="T41" fmla="*/ 486 h 6786"/>
                  <a:gd name="T42" fmla="*/ 216 w 4818"/>
                  <a:gd name="T43" fmla="*/ 476 h 6786"/>
                  <a:gd name="T44" fmla="*/ 200 w 4818"/>
                  <a:gd name="T45" fmla="*/ 476 h 6786"/>
                  <a:gd name="T46" fmla="*/ 184 w 4818"/>
                  <a:gd name="T47" fmla="*/ 469 h 6786"/>
                  <a:gd name="T48" fmla="*/ 171 w 4818"/>
                  <a:gd name="T49" fmla="*/ 474 h 6786"/>
                  <a:gd name="T50" fmla="*/ 158 w 4818"/>
                  <a:gd name="T51" fmla="*/ 477 h 6786"/>
                  <a:gd name="T52" fmla="*/ 165 w 4818"/>
                  <a:gd name="T53" fmla="*/ 490 h 6786"/>
                  <a:gd name="T54" fmla="*/ 166 w 4818"/>
                  <a:gd name="T55" fmla="*/ 520 h 6786"/>
                  <a:gd name="T56" fmla="*/ 123 w 4818"/>
                  <a:gd name="T57" fmla="*/ 560 h 6786"/>
                  <a:gd name="T58" fmla="*/ 77 w 4818"/>
                  <a:gd name="T59" fmla="*/ 575 h 6786"/>
                  <a:gd name="T60" fmla="*/ 45 w 4818"/>
                  <a:gd name="T61" fmla="*/ 562 h 6786"/>
                  <a:gd name="T62" fmla="*/ 30 w 4818"/>
                  <a:gd name="T63" fmla="*/ 535 h 6786"/>
                  <a:gd name="T64" fmla="*/ 7 w 4818"/>
                  <a:gd name="T65" fmla="*/ 534 h 6786"/>
                  <a:gd name="T66" fmla="*/ 0 w 4818"/>
                  <a:gd name="T67" fmla="*/ 529 h 6786"/>
                  <a:gd name="T68" fmla="*/ 13 w 4818"/>
                  <a:gd name="T69" fmla="*/ 504 h 6786"/>
                  <a:gd name="T70" fmla="*/ 16 w 4818"/>
                  <a:gd name="T71" fmla="*/ 471 h 6786"/>
                  <a:gd name="T72" fmla="*/ 6 w 4818"/>
                  <a:gd name="T73" fmla="*/ 432 h 6786"/>
                  <a:gd name="T74" fmla="*/ 23 w 4818"/>
                  <a:gd name="T75" fmla="*/ 405 h 6786"/>
                  <a:gd name="T76" fmla="*/ 36 w 4818"/>
                  <a:gd name="T77" fmla="*/ 376 h 6786"/>
                  <a:gd name="T78" fmla="*/ 69 w 4818"/>
                  <a:gd name="T79" fmla="*/ 333 h 6786"/>
                  <a:gd name="T80" fmla="*/ 106 w 4818"/>
                  <a:gd name="T81" fmla="*/ 318 h 6786"/>
                  <a:gd name="T82" fmla="*/ 133 w 4818"/>
                  <a:gd name="T83" fmla="*/ 299 h 6786"/>
                  <a:gd name="T84" fmla="*/ 160 w 4818"/>
                  <a:gd name="T85" fmla="*/ 278 h 6786"/>
                  <a:gd name="T86" fmla="*/ 204 w 4818"/>
                  <a:gd name="T87" fmla="*/ 286 h 6786"/>
                  <a:gd name="T88" fmla="*/ 235 w 4818"/>
                  <a:gd name="T89" fmla="*/ 256 h 6786"/>
                  <a:gd name="T90" fmla="*/ 218 w 4818"/>
                  <a:gd name="T91" fmla="*/ 216 h 6786"/>
                  <a:gd name="T92" fmla="*/ 239 w 4818"/>
                  <a:gd name="T93" fmla="*/ 167 h 6786"/>
                  <a:gd name="T94" fmla="*/ 231 w 4818"/>
                  <a:gd name="T95" fmla="*/ 135 h 6786"/>
                  <a:gd name="T96" fmla="*/ 236 w 4818"/>
                  <a:gd name="T97" fmla="*/ 120 h 6786"/>
                  <a:gd name="T98" fmla="*/ 233 w 4818"/>
                  <a:gd name="T99" fmla="*/ 101 h 6786"/>
                  <a:gd name="T100" fmla="*/ 251 w 4818"/>
                  <a:gd name="T101" fmla="*/ 77 h 6786"/>
                  <a:gd name="T102" fmla="*/ 266 w 4818"/>
                  <a:gd name="T103" fmla="*/ 50 h 6786"/>
                  <a:gd name="T104" fmla="*/ 282 w 4818"/>
                  <a:gd name="T105" fmla="*/ 46 h 6786"/>
                  <a:gd name="T106" fmla="*/ 317 w 4818"/>
                  <a:gd name="T107" fmla="*/ 9 h 6786"/>
                  <a:gd name="T108" fmla="*/ 317 w 4818"/>
                  <a:gd name="T109" fmla="*/ 0 h 6786"/>
                  <a:gd name="T110" fmla="*/ 326 w 4818"/>
                  <a:gd name="T111" fmla="*/ 10 h 6786"/>
                  <a:gd name="T112" fmla="*/ 362 w 4818"/>
                  <a:gd name="T113" fmla="*/ 13 h 678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818" h="6786">
                    <a:moveTo>
                      <a:pt x="4276" y="149"/>
                    </a:moveTo>
                    <a:cubicBezTo>
                      <a:pt x="4209" y="223"/>
                      <a:pt x="4254" y="342"/>
                      <a:pt x="4105" y="423"/>
                    </a:cubicBezTo>
                    <a:cubicBezTo>
                      <a:pt x="3994" y="490"/>
                      <a:pt x="4098" y="542"/>
                      <a:pt x="4194" y="572"/>
                    </a:cubicBezTo>
                    <a:cubicBezTo>
                      <a:pt x="4179" y="638"/>
                      <a:pt x="4068" y="654"/>
                      <a:pt x="4098" y="705"/>
                    </a:cubicBezTo>
                    <a:cubicBezTo>
                      <a:pt x="4165" y="832"/>
                      <a:pt x="4172" y="943"/>
                      <a:pt x="4239" y="1084"/>
                    </a:cubicBezTo>
                    <a:cubicBezTo>
                      <a:pt x="4254" y="1129"/>
                      <a:pt x="4321" y="1240"/>
                      <a:pt x="4321" y="1314"/>
                    </a:cubicBezTo>
                    <a:cubicBezTo>
                      <a:pt x="4321" y="1448"/>
                      <a:pt x="4246" y="1470"/>
                      <a:pt x="4239" y="1604"/>
                    </a:cubicBezTo>
                    <a:cubicBezTo>
                      <a:pt x="4216" y="1908"/>
                      <a:pt x="4350" y="1848"/>
                      <a:pt x="4343" y="2049"/>
                    </a:cubicBezTo>
                    <a:cubicBezTo>
                      <a:pt x="4335" y="2168"/>
                      <a:pt x="4313" y="2316"/>
                      <a:pt x="4313" y="2435"/>
                    </a:cubicBezTo>
                    <a:cubicBezTo>
                      <a:pt x="4313" y="2591"/>
                      <a:pt x="4462" y="2613"/>
                      <a:pt x="4484" y="2762"/>
                    </a:cubicBezTo>
                    <a:cubicBezTo>
                      <a:pt x="4499" y="2918"/>
                      <a:pt x="4528" y="2984"/>
                      <a:pt x="4551" y="3126"/>
                    </a:cubicBezTo>
                    <a:cubicBezTo>
                      <a:pt x="4536" y="3378"/>
                      <a:pt x="4818" y="3281"/>
                      <a:pt x="4818" y="3541"/>
                    </a:cubicBezTo>
                    <a:cubicBezTo>
                      <a:pt x="4818" y="3667"/>
                      <a:pt x="4699" y="3712"/>
                      <a:pt x="4699" y="3801"/>
                    </a:cubicBezTo>
                    <a:cubicBezTo>
                      <a:pt x="4699" y="3823"/>
                      <a:pt x="4647" y="3964"/>
                      <a:pt x="4662" y="3964"/>
                    </a:cubicBezTo>
                    <a:cubicBezTo>
                      <a:pt x="4573" y="3994"/>
                      <a:pt x="4588" y="4083"/>
                      <a:pt x="4588" y="4187"/>
                    </a:cubicBezTo>
                    <a:cubicBezTo>
                      <a:pt x="4588" y="4358"/>
                      <a:pt x="4729" y="4336"/>
                      <a:pt x="4692" y="4573"/>
                    </a:cubicBezTo>
                    <a:cubicBezTo>
                      <a:pt x="4647" y="4803"/>
                      <a:pt x="4261" y="4833"/>
                      <a:pt x="4216" y="4900"/>
                    </a:cubicBezTo>
                    <a:cubicBezTo>
                      <a:pt x="4127" y="5063"/>
                      <a:pt x="3957" y="5011"/>
                      <a:pt x="3875" y="5227"/>
                    </a:cubicBezTo>
                    <a:cubicBezTo>
                      <a:pt x="3853" y="5286"/>
                      <a:pt x="3667" y="5271"/>
                      <a:pt x="3652" y="5368"/>
                    </a:cubicBezTo>
                    <a:cubicBezTo>
                      <a:pt x="3623" y="5509"/>
                      <a:pt x="3481" y="5516"/>
                      <a:pt x="3385" y="5516"/>
                    </a:cubicBezTo>
                    <a:cubicBezTo>
                      <a:pt x="3192" y="5516"/>
                      <a:pt x="3044" y="5731"/>
                      <a:pt x="2806" y="5731"/>
                    </a:cubicBezTo>
                    <a:cubicBezTo>
                      <a:pt x="2643" y="5731"/>
                      <a:pt x="2635" y="5702"/>
                      <a:pt x="2546" y="5613"/>
                    </a:cubicBezTo>
                    <a:cubicBezTo>
                      <a:pt x="2509" y="5568"/>
                      <a:pt x="2427" y="5613"/>
                      <a:pt x="2361" y="5613"/>
                    </a:cubicBezTo>
                    <a:cubicBezTo>
                      <a:pt x="2294" y="5613"/>
                      <a:pt x="2212" y="5501"/>
                      <a:pt x="2175" y="5531"/>
                    </a:cubicBezTo>
                    <a:cubicBezTo>
                      <a:pt x="2101" y="5553"/>
                      <a:pt x="2116" y="5590"/>
                      <a:pt x="2019" y="5590"/>
                    </a:cubicBezTo>
                    <a:cubicBezTo>
                      <a:pt x="1967" y="5590"/>
                      <a:pt x="1863" y="5590"/>
                      <a:pt x="1863" y="5628"/>
                    </a:cubicBezTo>
                    <a:cubicBezTo>
                      <a:pt x="1863" y="5672"/>
                      <a:pt x="1900" y="5746"/>
                      <a:pt x="1945" y="5783"/>
                    </a:cubicBezTo>
                    <a:cubicBezTo>
                      <a:pt x="1945" y="5850"/>
                      <a:pt x="1974" y="6088"/>
                      <a:pt x="1960" y="6140"/>
                    </a:cubicBezTo>
                    <a:cubicBezTo>
                      <a:pt x="1863" y="6333"/>
                      <a:pt x="1640" y="6637"/>
                      <a:pt x="1455" y="6607"/>
                    </a:cubicBezTo>
                    <a:cubicBezTo>
                      <a:pt x="1098" y="6541"/>
                      <a:pt x="1180" y="6786"/>
                      <a:pt x="906" y="6786"/>
                    </a:cubicBezTo>
                    <a:cubicBezTo>
                      <a:pt x="772" y="6786"/>
                      <a:pt x="653" y="6786"/>
                      <a:pt x="527" y="6637"/>
                    </a:cubicBezTo>
                    <a:cubicBezTo>
                      <a:pt x="393" y="6548"/>
                      <a:pt x="520" y="6392"/>
                      <a:pt x="349" y="6318"/>
                    </a:cubicBezTo>
                    <a:cubicBezTo>
                      <a:pt x="252" y="6281"/>
                      <a:pt x="200" y="6318"/>
                      <a:pt x="81" y="6303"/>
                    </a:cubicBezTo>
                    <a:cubicBezTo>
                      <a:pt x="52" y="6303"/>
                      <a:pt x="22" y="6273"/>
                      <a:pt x="0" y="6244"/>
                    </a:cubicBezTo>
                    <a:cubicBezTo>
                      <a:pt x="22" y="6140"/>
                      <a:pt x="178" y="6073"/>
                      <a:pt x="156" y="5947"/>
                    </a:cubicBezTo>
                    <a:lnTo>
                      <a:pt x="193" y="5553"/>
                    </a:lnTo>
                    <a:cubicBezTo>
                      <a:pt x="171" y="5434"/>
                      <a:pt x="52" y="5323"/>
                      <a:pt x="67" y="5100"/>
                    </a:cubicBezTo>
                    <a:cubicBezTo>
                      <a:pt x="52" y="4922"/>
                      <a:pt x="245" y="4982"/>
                      <a:pt x="267" y="4781"/>
                    </a:cubicBezTo>
                    <a:cubicBezTo>
                      <a:pt x="282" y="4588"/>
                      <a:pt x="364" y="4596"/>
                      <a:pt x="423" y="4432"/>
                    </a:cubicBezTo>
                    <a:cubicBezTo>
                      <a:pt x="482" y="4284"/>
                      <a:pt x="438" y="3927"/>
                      <a:pt x="816" y="3927"/>
                    </a:cubicBezTo>
                    <a:cubicBezTo>
                      <a:pt x="1069" y="3927"/>
                      <a:pt x="995" y="3779"/>
                      <a:pt x="1247" y="3749"/>
                    </a:cubicBezTo>
                    <a:cubicBezTo>
                      <a:pt x="1366" y="3734"/>
                      <a:pt x="1485" y="3608"/>
                      <a:pt x="1566" y="3534"/>
                    </a:cubicBezTo>
                    <a:cubicBezTo>
                      <a:pt x="1640" y="3452"/>
                      <a:pt x="1715" y="3281"/>
                      <a:pt x="1886" y="3281"/>
                    </a:cubicBezTo>
                    <a:cubicBezTo>
                      <a:pt x="2026" y="3281"/>
                      <a:pt x="2279" y="3378"/>
                      <a:pt x="2413" y="3378"/>
                    </a:cubicBezTo>
                    <a:cubicBezTo>
                      <a:pt x="2709" y="3378"/>
                      <a:pt x="2776" y="3281"/>
                      <a:pt x="2776" y="3022"/>
                    </a:cubicBezTo>
                    <a:cubicBezTo>
                      <a:pt x="2776" y="2836"/>
                      <a:pt x="2569" y="2843"/>
                      <a:pt x="2569" y="2554"/>
                    </a:cubicBezTo>
                    <a:cubicBezTo>
                      <a:pt x="2569" y="2257"/>
                      <a:pt x="2828" y="2279"/>
                      <a:pt x="2828" y="1975"/>
                    </a:cubicBezTo>
                    <a:cubicBezTo>
                      <a:pt x="2828" y="1819"/>
                      <a:pt x="2732" y="1722"/>
                      <a:pt x="2732" y="1589"/>
                    </a:cubicBezTo>
                    <a:cubicBezTo>
                      <a:pt x="2732" y="1522"/>
                      <a:pt x="2784" y="1492"/>
                      <a:pt x="2784" y="1418"/>
                    </a:cubicBezTo>
                    <a:cubicBezTo>
                      <a:pt x="2784" y="1337"/>
                      <a:pt x="2747" y="1262"/>
                      <a:pt x="2747" y="1188"/>
                    </a:cubicBezTo>
                    <a:cubicBezTo>
                      <a:pt x="2747" y="1039"/>
                      <a:pt x="2850" y="1024"/>
                      <a:pt x="2962" y="913"/>
                    </a:cubicBezTo>
                    <a:cubicBezTo>
                      <a:pt x="3044" y="832"/>
                      <a:pt x="2962" y="646"/>
                      <a:pt x="3140" y="594"/>
                    </a:cubicBezTo>
                    <a:cubicBezTo>
                      <a:pt x="3192" y="572"/>
                      <a:pt x="3237" y="564"/>
                      <a:pt x="3333" y="542"/>
                    </a:cubicBezTo>
                    <a:cubicBezTo>
                      <a:pt x="3481" y="505"/>
                      <a:pt x="3742" y="260"/>
                      <a:pt x="3742" y="104"/>
                    </a:cubicBezTo>
                    <a:cubicBezTo>
                      <a:pt x="3742" y="104"/>
                      <a:pt x="3749" y="37"/>
                      <a:pt x="3749" y="0"/>
                    </a:cubicBezTo>
                    <a:cubicBezTo>
                      <a:pt x="3868" y="0"/>
                      <a:pt x="3794" y="104"/>
                      <a:pt x="3845" y="119"/>
                    </a:cubicBezTo>
                    <a:cubicBezTo>
                      <a:pt x="3994" y="178"/>
                      <a:pt x="4157" y="141"/>
                      <a:pt x="4276" y="149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162"/>
              <p:cNvSpPr>
                <a:spLocks/>
              </p:cNvSpPr>
              <p:nvPr/>
            </p:nvSpPr>
            <p:spPr bwMode="auto">
              <a:xfrm>
                <a:off x="4747515" y="3979478"/>
                <a:ext cx="822501" cy="845759"/>
              </a:xfrm>
              <a:custGeom>
                <a:avLst/>
                <a:gdLst>
                  <a:gd name="T0" fmla="*/ 498 w 5872"/>
                  <a:gd name="T1" fmla="*/ 175 h 6043"/>
                  <a:gd name="T2" fmla="*/ 465 w 5872"/>
                  <a:gd name="T3" fmla="*/ 156 h 6043"/>
                  <a:gd name="T4" fmla="*/ 423 w 5872"/>
                  <a:gd name="T5" fmla="*/ 143 h 6043"/>
                  <a:gd name="T6" fmla="*/ 394 w 5872"/>
                  <a:gd name="T7" fmla="*/ 123 h 6043"/>
                  <a:gd name="T8" fmla="*/ 358 w 5872"/>
                  <a:gd name="T9" fmla="*/ 110 h 6043"/>
                  <a:gd name="T10" fmla="*/ 367 w 5872"/>
                  <a:gd name="T11" fmla="*/ 97 h 6043"/>
                  <a:gd name="T12" fmla="*/ 348 w 5872"/>
                  <a:gd name="T13" fmla="*/ 69 h 6043"/>
                  <a:gd name="T14" fmla="*/ 314 w 5872"/>
                  <a:gd name="T15" fmla="*/ 47 h 6043"/>
                  <a:gd name="T16" fmla="*/ 300 w 5872"/>
                  <a:gd name="T17" fmla="*/ 19 h 6043"/>
                  <a:gd name="T18" fmla="*/ 285 w 5872"/>
                  <a:gd name="T19" fmla="*/ 30 h 6043"/>
                  <a:gd name="T20" fmla="*/ 241 w 5872"/>
                  <a:gd name="T21" fmla="*/ 29 h 6043"/>
                  <a:gd name="T22" fmla="*/ 219 w 5872"/>
                  <a:gd name="T23" fmla="*/ 40 h 6043"/>
                  <a:gd name="T24" fmla="*/ 193 w 5872"/>
                  <a:gd name="T25" fmla="*/ 33 h 6043"/>
                  <a:gd name="T26" fmla="*/ 125 w 5872"/>
                  <a:gd name="T27" fmla="*/ 14 h 6043"/>
                  <a:gd name="T28" fmla="*/ 103 w 5872"/>
                  <a:gd name="T29" fmla="*/ 20 h 6043"/>
                  <a:gd name="T30" fmla="*/ 68 w 5872"/>
                  <a:gd name="T31" fmla="*/ 53 h 6043"/>
                  <a:gd name="T32" fmla="*/ 50 w 5872"/>
                  <a:gd name="T33" fmla="*/ 60 h 6043"/>
                  <a:gd name="T34" fmla="*/ 39 w 5872"/>
                  <a:gd name="T35" fmla="*/ 88 h 6043"/>
                  <a:gd name="T36" fmla="*/ 27 w 5872"/>
                  <a:gd name="T37" fmla="*/ 153 h 6043"/>
                  <a:gd name="T38" fmla="*/ 5 w 5872"/>
                  <a:gd name="T39" fmla="*/ 204 h 6043"/>
                  <a:gd name="T40" fmla="*/ 23 w 5872"/>
                  <a:gd name="T41" fmla="*/ 223 h 6043"/>
                  <a:gd name="T42" fmla="*/ 11 w 5872"/>
                  <a:gd name="T43" fmla="*/ 230 h 6043"/>
                  <a:gd name="T44" fmla="*/ 0 w 5872"/>
                  <a:gd name="T45" fmla="*/ 213 h 6043"/>
                  <a:gd name="T46" fmla="*/ 0 w 5872"/>
                  <a:gd name="T47" fmla="*/ 225 h 6043"/>
                  <a:gd name="T48" fmla="*/ 23 w 5872"/>
                  <a:gd name="T49" fmla="*/ 298 h 6043"/>
                  <a:gd name="T50" fmla="*/ 20 w 5872"/>
                  <a:gd name="T51" fmla="*/ 345 h 6043"/>
                  <a:gd name="T52" fmla="*/ 21 w 5872"/>
                  <a:gd name="T53" fmla="*/ 374 h 6043"/>
                  <a:gd name="T54" fmla="*/ 33 w 5872"/>
                  <a:gd name="T55" fmla="*/ 374 h 6043"/>
                  <a:gd name="T56" fmla="*/ 50 w 5872"/>
                  <a:gd name="T57" fmla="*/ 381 h 6043"/>
                  <a:gd name="T58" fmla="*/ 69 w 5872"/>
                  <a:gd name="T59" fmla="*/ 381 h 6043"/>
                  <a:gd name="T60" fmla="*/ 94 w 5872"/>
                  <a:gd name="T61" fmla="*/ 386 h 6043"/>
                  <a:gd name="T62" fmla="*/ 117 w 5872"/>
                  <a:gd name="T63" fmla="*/ 371 h 6043"/>
                  <a:gd name="T64" fmla="*/ 140 w 5872"/>
                  <a:gd name="T65" fmla="*/ 385 h 6043"/>
                  <a:gd name="T66" fmla="*/ 169 w 5872"/>
                  <a:gd name="T67" fmla="*/ 401 h 6043"/>
                  <a:gd name="T68" fmla="*/ 175 w 5872"/>
                  <a:gd name="T69" fmla="*/ 415 h 6043"/>
                  <a:gd name="T70" fmla="*/ 174 w 5872"/>
                  <a:gd name="T71" fmla="*/ 432 h 6043"/>
                  <a:gd name="T72" fmla="*/ 182 w 5872"/>
                  <a:gd name="T73" fmla="*/ 449 h 6043"/>
                  <a:gd name="T74" fmla="*/ 182 w 5872"/>
                  <a:gd name="T75" fmla="*/ 477 h 6043"/>
                  <a:gd name="T76" fmla="*/ 203 w 5872"/>
                  <a:gd name="T77" fmla="*/ 510 h 6043"/>
                  <a:gd name="T78" fmla="*/ 245 w 5872"/>
                  <a:gd name="T79" fmla="*/ 495 h 6043"/>
                  <a:gd name="T80" fmla="*/ 265 w 5872"/>
                  <a:gd name="T81" fmla="*/ 510 h 6043"/>
                  <a:gd name="T82" fmla="*/ 282 w 5872"/>
                  <a:gd name="T83" fmla="*/ 497 h 6043"/>
                  <a:gd name="T84" fmla="*/ 289 w 5872"/>
                  <a:gd name="T85" fmla="*/ 464 h 6043"/>
                  <a:gd name="T86" fmla="*/ 305 w 5872"/>
                  <a:gd name="T87" fmla="*/ 449 h 6043"/>
                  <a:gd name="T88" fmla="*/ 327 w 5872"/>
                  <a:gd name="T89" fmla="*/ 415 h 6043"/>
                  <a:gd name="T90" fmla="*/ 382 w 5872"/>
                  <a:gd name="T91" fmla="*/ 377 h 6043"/>
                  <a:gd name="T92" fmla="*/ 416 w 5872"/>
                  <a:gd name="T93" fmla="*/ 331 h 6043"/>
                  <a:gd name="T94" fmla="*/ 428 w 5872"/>
                  <a:gd name="T95" fmla="*/ 318 h 6043"/>
                  <a:gd name="T96" fmla="*/ 444 w 5872"/>
                  <a:gd name="T97" fmla="*/ 282 h 6043"/>
                  <a:gd name="T98" fmla="*/ 465 w 5872"/>
                  <a:gd name="T99" fmla="*/ 245 h 6043"/>
                  <a:gd name="T100" fmla="*/ 490 w 5872"/>
                  <a:gd name="T101" fmla="*/ 220 h 6043"/>
                  <a:gd name="T102" fmla="*/ 498 w 5872"/>
                  <a:gd name="T103" fmla="*/ 174 h 6043"/>
                  <a:gd name="T104" fmla="*/ 498 w 5872"/>
                  <a:gd name="T105" fmla="*/ 175 h 604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872" h="6043">
                    <a:moveTo>
                      <a:pt x="5872" y="2064"/>
                    </a:moveTo>
                    <a:cubicBezTo>
                      <a:pt x="5768" y="1916"/>
                      <a:pt x="5523" y="1968"/>
                      <a:pt x="5479" y="1841"/>
                    </a:cubicBezTo>
                    <a:cubicBezTo>
                      <a:pt x="5442" y="1745"/>
                      <a:pt x="5056" y="1775"/>
                      <a:pt x="4989" y="1685"/>
                    </a:cubicBezTo>
                    <a:cubicBezTo>
                      <a:pt x="4833" y="1448"/>
                      <a:pt x="4714" y="1582"/>
                      <a:pt x="4647" y="1448"/>
                    </a:cubicBezTo>
                    <a:cubicBezTo>
                      <a:pt x="4499" y="1396"/>
                      <a:pt x="4195" y="1426"/>
                      <a:pt x="4224" y="1299"/>
                    </a:cubicBezTo>
                    <a:cubicBezTo>
                      <a:pt x="4247" y="1203"/>
                      <a:pt x="4321" y="1240"/>
                      <a:pt x="4328" y="1143"/>
                    </a:cubicBezTo>
                    <a:cubicBezTo>
                      <a:pt x="4336" y="1047"/>
                      <a:pt x="3898" y="1225"/>
                      <a:pt x="4098" y="817"/>
                    </a:cubicBezTo>
                    <a:cubicBezTo>
                      <a:pt x="3942" y="862"/>
                      <a:pt x="3712" y="609"/>
                      <a:pt x="3697" y="557"/>
                    </a:cubicBezTo>
                    <a:cubicBezTo>
                      <a:pt x="3623" y="423"/>
                      <a:pt x="3734" y="223"/>
                      <a:pt x="3534" y="223"/>
                    </a:cubicBezTo>
                    <a:cubicBezTo>
                      <a:pt x="3534" y="223"/>
                      <a:pt x="3430" y="253"/>
                      <a:pt x="3356" y="357"/>
                    </a:cubicBezTo>
                    <a:cubicBezTo>
                      <a:pt x="3222" y="468"/>
                      <a:pt x="2888" y="297"/>
                      <a:pt x="2836" y="342"/>
                    </a:cubicBezTo>
                    <a:cubicBezTo>
                      <a:pt x="2799" y="364"/>
                      <a:pt x="2606" y="460"/>
                      <a:pt x="2584" y="468"/>
                    </a:cubicBezTo>
                    <a:cubicBezTo>
                      <a:pt x="2457" y="513"/>
                      <a:pt x="2368" y="379"/>
                      <a:pt x="2279" y="394"/>
                    </a:cubicBezTo>
                    <a:cubicBezTo>
                      <a:pt x="2064" y="416"/>
                      <a:pt x="1819" y="0"/>
                      <a:pt x="1470" y="164"/>
                    </a:cubicBezTo>
                    <a:cubicBezTo>
                      <a:pt x="1396" y="193"/>
                      <a:pt x="1255" y="253"/>
                      <a:pt x="1210" y="238"/>
                    </a:cubicBezTo>
                    <a:cubicBezTo>
                      <a:pt x="1084" y="186"/>
                      <a:pt x="973" y="557"/>
                      <a:pt x="802" y="631"/>
                    </a:cubicBezTo>
                    <a:cubicBezTo>
                      <a:pt x="720" y="683"/>
                      <a:pt x="661" y="616"/>
                      <a:pt x="587" y="713"/>
                    </a:cubicBezTo>
                    <a:cubicBezTo>
                      <a:pt x="520" y="795"/>
                      <a:pt x="572" y="988"/>
                      <a:pt x="460" y="1040"/>
                    </a:cubicBezTo>
                    <a:cubicBezTo>
                      <a:pt x="483" y="1218"/>
                      <a:pt x="290" y="1478"/>
                      <a:pt x="319" y="1804"/>
                    </a:cubicBezTo>
                    <a:cubicBezTo>
                      <a:pt x="282" y="2005"/>
                      <a:pt x="22" y="2257"/>
                      <a:pt x="59" y="2413"/>
                    </a:cubicBezTo>
                    <a:cubicBezTo>
                      <a:pt x="67" y="2443"/>
                      <a:pt x="275" y="2591"/>
                      <a:pt x="267" y="2629"/>
                    </a:cubicBezTo>
                    <a:cubicBezTo>
                      <a:pt x="245" y="2673"/>
                      <a:pt x="149" y="2673"/>
                      <a:pt x="134" y="2717"/>
                    </a:cubicBezTo>
                    <a:cubicBezTo>
                      <a:pt x="119" y="2762"/>
                      <a:pt x="8" y="2472"/>
                      <a:pt x="0" y="2517"/>
                    </a:cubicBezTo>
                    <a:lnTo>
                      <a:pt x="0" y="2651"/>
                    </a:lnTo>
                    <a:cubicBezTo>
                      <a:pt x="0" y="3111"/>
                      <a:pt x="275" y="3074"/>
                      <a:pt x="275" y="3512"/>
                    </a:cubicBezTo>
                    <a:cubicBezTo>
                      <a:pt x="275" y="3690"/>
                      <a:pt x="230" y="3883"/>
                      <a:pt x="230" y="4076"/>
                    </a:cubicBezTo>
                    <a:cubicBezTo>
                      <a:pt x="245" y="4254"/>
                      <a:pt x="126" y="4417"/>
                      <a:pt x="245" y="4417"/>
                    </a:cubicBezTo>
                    <a:lnTo>
                      <a:pt x="386" y="4417"/>
                    </a:lnTo>
                    <a:cubicBezTo>
                      <a:pt x="505" y="4417"/>
                      <a:pt x="498" y="4492"/>
                      <a:pt x="594" y="4492"/>
                    </a:cubicBezTo>
                    <a:lnTo>
                      <a:pt x="817" y="4492"/>
                    </a:lnTo>
                    <a:cubicBezTo>
                      <a:pt x="973" y="4492"/>
                      <a:pt x="958" y="4551"/>
                      <a:pt x="1114" y="4551"/>
                    </a:cubicBezTo>
                    <a:cubicBezTo>
                      <a:pt x="1247" y="4551"/>
                      <a:pt x="1314" y="4455"/>
                      <a:pt x="1381" y="4380"/>
                    </a:cubicBezTo>
                    <a:cubicBezTo>
                      <a:pt x="1522" y="4329"/>
                      <a:pt x="1500" y="4573"/>
                      <a:pt x="1656" y="4544"/>
                    </a:cubicBezTo>
                    <a:cubicBezTo>
                      <a:pt x="1849" y="4514"/>
                      <a:pt x="1938" y="4551"/>
                      <a:pt x="1990" y="4737"/>
                    </a:cubicBezTo>
                    <a:cubicBezTo>
                      <a:pt x="2005" y="4811"/>
                      <a:pt x="2064" y="4833"/>
                      <a:pt x="2064" y="4900"/>
                    </a:cubicBezTo>
                    <a:cubicBezTo>
                      <a:pt x="2064" y="4989"/>
                      <a:pt x="2049" y="5019"/>
                      <a:pt x="2049" y="5093"/>
                    </a:cubicBezTo>
                    <a:cubicBezTo>
                      <a:pt x="2049" y="5175"/>
                      <a:pt x="2108" y="5256"/>
                      <a:pt x="2146" y="5294"/>
                    </a:cubicBezTo>
                    <a:cubicBezTo>
                      <a:pt x="2175" y="5442"/>
                      <a:pt x="2146" y="5635"/>
                      <a:pt x="2146" y="5635"/>
                    </a:cubicBezTo>
                    <a:cubicBezTo>
                      <a:pt x="2272" y="5709"/>
                      <a:pt x="2108" y="6006"/>
                      <a:pt x="2391" y="6021"/>
                    </a:cubicBezTo>
                    <a:cubicBezTo>
                      <a:pt x="2658" y="6043"/>
                      <a:pt x="2717" y="5843"/>
                      <a:pt x="2888" y="5843"/>
                    </a:cubicBezTo>
                    <a:cubicBezTo>
                      <a:pt x="3007" y="5843"/>
                      <a:pt x="3118" y="6006"/>
                      <a:pt x="3125" y="6021"/>
                    </a:cubicBezTo>
                    <a:cubicBezTo>
                      <a:pt x="3192" y="5939"/>
                      <a:pt x="3296" y="5962"/>
                      <a:pt x="3326" y="5865"/>
                    </a:cubicBezTo>
                    <a:cubicBezTo>
                      <a:pt x="3363" y="5746"/>
                      <a:pt x="3341" y="5576"/>
                      <a:pt x="3408" y="5472"/>
                    </a:cubicBezTo>
                    <a:cubicBezTo>
                      <a:pt x="3474" y="5375"/>
                      <a:pt x="3571" y="5383"/>
                      <a:pt x="3593" y="5294"/>
                    </a:cubicBezTo>
                    <a:cubicBezTo>
                      <a:pt x="3667" y="5086"/>
                      <a:pt x="3667" y="4967"/>
                      <a:pt x="3860" y="4900"/>
                    </a:cubicBezTo>
                    <a:cubicBezTo>
                      <a:pt x="4261" y="4766"/>
                      <a:pt x="4128" y="4551"/>
                      <a:pt x="4506" y="4455"/>
                    </a:cubicBezTo>
                    <a:cubicBezTo>
                      <a:pt x="4692" y="4395"/>
                      <a:pt x="4907" y="4017"/>
                      <a:pt x="4900" y="3905"/>
                    </a:cubicBezTo>
                    <a:cubicBezTo>
                      <a:pt x="4878" y="3772"/>
                      <a:pt x="5011" y="3868"/>
                      <a:pt x="5048" y="3757"/>
                    </a:cubicBezTo>
                    <a:cubicBezTo>
                      <a:pt x="5056" y="3415"/>
                      <a:pt x="5227" y="3415"/>
                      <a:pt x="5241" y="3326"/>
                    </a:cubicBezTo>
                    <a:cubicBezTo>
                      <a:pt x="5301" y="2925"/>
                      <a:pt x="5442" y="3015"/>
                      <a:pt x="5486" y="2896"/>
                    </a:cubicBezTo>
                    <a:cubicBezTo>
                      <a:pt x="5561" y="2703"/>
                      <a:pt x="5791" y="2911"/>
                      <a:pt x="5783" y="2599"/>
                    </a:cubicBezTo>
                    <a:cubicBezTo>
                      <a:pt x="5768" y="2235"/>
                      <a:pt x="5872" y="2205"/>
                      <a:pt x="5872" y="2057"/>
                    </a:cubicBezTo>
                    <a:lnTo>
                      <a:pt x="5872" y="206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163"/>
              <p:cNvSpPr>
                <a:spLocks/>
              </p:cNvSpPr>
              <p:nvPr/>
            </p:nvSpPr>
            <p:spPr bwMode="auto">
              <a:xfrm>
                <a:off x="5236391" y="5048240"/>
                <a:ext cx="601185" cy="416272"/>
              </a:xfrm>
              <a:custGeom>
                <a:avLst/>
                <a:gdLst>
                  <a:gd name="T0" fmla="*/ 7 w 4291"/>
                  <a:gd name="T1" fmla="*/ 16 h 2973"/>
                  <a:gd name="T2" fmla="*/ 8 w 4291"/>
                  <a:gd name="T3" fmla="*/ 25 h 2973"/>
                  <a:gd name="T4" fmla="*/ 7 w 4291"/>
                  <a:gd name="T5" fmla="*/ 73 h 2973"/>
                  <a:gd name="T6" fmla="*/ 0 w 4291"/>
                  <a:gd name="T7" fmla="*/ 87 h 2973"/>
                  <a:gd name="T8" fmla="*/ 8 w 4291"/>
                  <a:gd name="T9" fmla="*/ 87 h 2973"/>
                  <a:gd name="T10" fmla="*/ 32 w 4291"/>
                  <a:gd name="T11" fmla="*/ 80 h 2973"/>
                  <a:gd name="T12" fmla="*/ 69 w 4291"/>
                  <a:gd name="T13" fmla="*/ 89 h 2973"/>
                  <a:gd name="T14" fmla="*/ 96 w 4291"/>
                  <a:gd name="T15" fmla="*/ 90 h 2973"/>
                  <a:gd name="T16" fmla="*/ 137 w 4291"/>
                  <a:gd name="T17" fmla="*/ 110 h 2973"/>
                  <a:gd name="T18" fmla="*/ 186 w 4291"/>
                  <a:gd name="T19" fmla="*/ 142 h 2973"/>
                  <a:gd name="T20" fmla="*/ 211 w 4291"/>
                  <a:gd name="T21" fmla="*/ 174 h 2973"/>
                  <a:gd name="T22" fmla="*/ 245 w 4291"/>
                  <a:gd name="T23" fmla="*/ 179 h 2973"/>
                  <a:gd name="T24" fmla="*/ 267 w 4291"/>
                  <a:gd name="T25" fmla="*/ 189 h 2973"/>
                  <a:gd name="T26" fmla="*/ 259 w 4291"/>
                  <a:gd name="T27" fmla="*/ 197 h 2973"/>
                  <a:gd name="T28" fmla="*/ 245 w 4291"/>
                  <a:gd name="T29" fmla="*/ 225 h 2973"/>
                  <a:gd name="T30" fmla="*/ 234 w 4291"/>
                  <a:gd name="T31" fmla="*/ 237 h 2973"/>
                  <a:gd name="T32" fmla="*/ 249 w 4291"/>
                  <a:gd name="T33" fmla="*/ 236 h 2973"/>
                  <a:gd name="T34" fmla="*/ 272 w 4291"/>
                  <a:gd name="T35" fmla="*/ 252 h 2973"/>
                  <a:gd name="T36" fmla="*/ 310 w 4291"/>
                  <a:gd name="T37" fmla="*/ 211 h 2973"/>
                  <a:gd name="T38" fmla="*/ 332 w 4291"/>
                  <a:gd name="T39" fmla="*/ 195 h 2973"/>
                  <a:gd name="T40" fmla="*/ 344 w 4291"/>
                  <a:gd name="T41" fmla="*/ 181 h 2973"/>
                  <a:gd name="T42" fmla="*/ 351 w 4291"/>
                  <a:gd name="T43" fmla="*/ 157 h 2973"/>
                  <a:gd name="T44" fmla="*/ 363 w 4291"/>
                  <a:gd name="T45" fmla="*/ 110 h 2973"/>
                  <a:gd name="T46" fmla="*/ 358 w 4291"/>
                  <a:gd name="T47" fmla="*/ 81 h 2973"/>
                  <a:gd name="T48" fmla="*/ 354 w 4291"/>
                  <a:gd name="T49" fmla="*/ 59 h 2973"/>
                  <a:gd name="T50" fmla="*/ 348 w 4291"/>
                  <a:gd name="T51" fmla="*/ 30 h 2973"/>
                  <a:gd name="T52" fmla="*/ 358 w 4291"/>
                  <a:gd name="T53" fmla="*/ 28 h 2973"/>
                  <a:gd name="T54" fmla="*/ 356 w 4291"/>
                  <a:gd name="T55" fmla="*/ 3 h 2973"/>
                  <a:gd name="T56" fmla="*/ 309 w 4291"/>
                  <a:gd name="T57" fmla="*/ 4 h 2973"/>
                  <a:gd name="T58" fmla="*/ 283 w 4291"/>
                  <a:gd name="T59" fmla="*/ 20 h 2973"/>
                  <a:gd name="T60" fmla="*/ 253 w 4291"/>
                  <a:gd name="T61" fmla="*/ 4 h 2973"/>
                  <a:gd name="T62" fmla="*/ 231 w 4291"/>
                  <a:gd name="T63" fmla="*/ 6 h 2973"/>
                  <a:gd name="T64" fmla="*/ 215 w 4291"/>
                  <a:gd name="T65" fmla="*/ 4 h 2973"/>
                  <a:gd name="T66" fmla="*/ 205 w 4291"/>
                  <a:gd name="T67" fmla="*/ 16 h 2973"/>
                  <a:gd name="T68" fmla="*/ 171 w 4291"/>
                  <a:gd name="T69" fmla="*/ 31 h 2973"/>
                  <a:gd name="T70" fmla="*/ 171 w 4291"/>
                  <a:gd name="T71" fmla="*/ 47 h 2973"/>
                  <a:gd name="T72" fmla="*/ 154 w 4291"/>
                  <a:gd name="T73" fmla="*/ 48 h 2973"/>
                  <a:gd name="T74" fmla="*/ 113 w 4291"/>
                  <a:gd name="T75" fmla="*/ 38 h 2973"/>
                  <a:gd name="T76" fmla="*/ 68 w 4291"/>
                  <a:gd name="T77" fmla="*/ 25 h 2973"/>
                  <a:gd name="T78" fmla="*/ 50 w 4291"/>
                  <a:gd name="T79" fmla="*/ 25 h 2973"/>
                  <a:gd name="T80" fmla="*/ 22 w 4291"/>
                  <a:gd name="T81" fmla="*/ 20 h 2973"/>
                  <a:gd name="T82" fmla="*/ 7 w 4291"/>
                  <a:gd name="T83" fmla="*/ 16 h 297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291" h="2973">
                    <a:moveTo>
                      <a:pt x="81" y="193"/>
                    </a:moveTo>
                    <a:cubicBezTo>
                      <a:pt x="89" y="230"/>
                      <a:pt x="89" y="275"/>
                      <a:pt x="89" y="290"/>
                    </a:cubicBezTo>
                    <a:cubicBezTo>
                      <a:pt x="89" y="542"/>
                      <a:pt x="111" y="661"/>
                      <a:pt x="81" y="861"/>
                    </a:cubicBezTo>
                    <a:cubicBezTo>
                      <a:pt x="74" y="928"/>
                      <a:pt x="44" y="980"/>
                      <a:pt x="0" y="1024"/>
                    </a:cubicBezTo>
                    <a:cubicBezTo>
                      <a:pt x="37" y="1024"/>
                      <a:pt x="59" y="1032"/>
                      <a:pt x="96" y="1032"/>
                    </a:cubicBezTo>
                    <a:cubicBezTo>
                      <a:pt x="237" y="1032"/>
                      <a:pt x="275" y="943"/>
                      <a:pt x="378" y="943"/>
                    </a:cubicBezTo>
                    <a:cubicBezTo>
                      <a:pt x="549" y="943"/>
                      <a:pt x="690" y="1017"/>
                      <a:pt x="809" y="1054"/>
                    </a:cubicBezTo>
                    <a:cubicBezTo>
                      <a:pt x="920" y="1091"/>
                      <a:pt x="1009" y="1039"/>
                      <a:pt x="1128" y="1062"/>
                    </a:cubicBezTo>
                    <a:cubicBezTo>
                      <a:pt x="1433" y="1106"/>
                      <a:pt x="1418" y="1270"/>
                      <a:pt x="1611" y="1292"/>
                    </a:cubicBezTo>
                    <a:cubicBezTo>
                      <a:pt x="1789" y="1314"/>
                      <a:pt x="2116" y="1567"/>
                      <a:pt x="2190" y="1678"/>
                    </a:cubicBezTo>
                    <a:cubicBezTo>
                      <a:pt x="2264" y="1789"/>
                      <a:pt x="2368" y="1982"/>
                      <a:pt x="2487" y="2057"/>
                    </a:cubicBezTo>
                    <a:cubicBezTo>
                      <a:pt x="2650" y="2153"/>
                      <a:pt x="2702" y="2138"/>
                      <a:pt x="2888" y="2116"/>
                    </a:cubicBezTo>
                    <a:cubicBezTo>
                      <a:pt x="3110" y="2101"/>
                      <a:pt x="3147" y="2153"/>
                      <a:pt x="3147" y="2235"/>
                    </a:cubicBezTo>
                    <a:cubicBezTo>
                      <a:pt x="3147" y="2272"/>
                      <a:pt x="3081" y="2294"/>
                      <a:pt x="3051" y="2324"/>
                    </a:cubicBezTo>
                    <a:cubicBezTo>
                      <a:pt x="2850" y="2487"/>
                      <a:pt x="2984" y="2561"/>
                      <a:pt x="2888" y="2658"/>
                    </a:cubicBezTo>
                    <a:cubicBezTo>
                      <a:pt x="2843" y="2702"/>
                      <a:pt x="2754" y="2725"/>
                      <a:pt x="2761" y="2792"/>
                    </a:cubicBezTo>
                    <a:cubicBezTo>
                      <a:pt x="2791" y="2918"/>
                      <a:pt x="2895" y="2784"/>
                      <a:pt x="2940" y="2784"/>
                    </a:cubicBezTo>
                    <a:cubicBezTo>
                      <a:pt x="3081" y="2784"/>
                      <a:pt x="3204" y="2973"/>
                      <a:pt x="3204" y="2973"/>
                    </a:cubicBezTo>
                    <a:cubicBezTo>
                      <a:pt x="3367" y="2758"/>
                      <a:pt x="3525" y="2588"/>
                      <a:pt x="3651" y="2491"/>
                    </a:cubicBezTo>
                    <a:cubicBezTo>
                      <a:pt x="3726" y="2432"/>
                      <a:pt x="3933" y="2347"/>
                      <a:pt x="3918" y="2303"/>
                    </a:cubicBezTo>
                    <a:cubicBezTo>
                      <a:pt x="3911" y="2266"/>
                      <a:pt x="4043" y="2213"/>
                      <a:pt x="4059" y="2132"/>
                    </a:cubicBezTo>
                    <a:cubicBezTo>
                      <a:pt x="4130" y="2005"/>
                      <a:pt x="4134" y="1987"/>
                      <a:pt x="4134" y="1853"/>
                    </a:cubicBezTo>
                    <a:cubicBezTo>
                      <a:pt x="4134" y="1734"/>
                      <a:pt x="4267" y="1687"/>
                      <a:pt x="4275" y="1293"/>
                    </a:cubicBezTo>
                    <a:cubicBezTo>
                      <a:pt x="4275" y="1122"/>
                      <a:pt x="4222" y="1063"/>
                      <a:pt x="4222" y="959"/>
                    </a:cubicBezTo>
                    <a:cubicBezTo>
                      <a:pt x="4222" y="833"/>
                      <a:pt x="4148" y="744"/>
                      <a:pt x="4178" y="692"/>
                    </a:cubicBezTo>
                    <a:cubicBezTo>
                      <a:pt x="4291" y="457"/>
                      <a:pt x="4060" y="587"/>
                      <a:pt x="4105" y="357"/>
                    </a:cubicBezTo>
                    <a:cubicBezTo>
                      <a:pt x="4156" y="312"/>
                      <a:pt x="4156" y="334"/>
                      <a:pt x="4216" y="334"/>
                    </a:cubicBezTo>
                    <a:cubicBezTo>
                      <a:pt x="4223" y="394"/>
                      <a:pt x="4164" y="223"/>
                      <a:pt x="4201" y="37"/>
                    </a:cubicBezTo>
                    <a:cubicBezTo>
                      <a:pt x="4053" y="60"/>
                      <a:pt x="3801" y="45"/>
                      <a:pt x="3645" y="45"/>
                    </a:cubicBezTo>
                    <a:cubicBezTo>
                      <a:pt x="3504" y="60"/>
                      <a:pt x="3430" y="238"/>
                      <a:pt x="3333" y="238"/>
                    </a:cubicBezTo>
                    <a:cubicBezTo>
                      <a:pt x="3184" y="238"/>
                      <a:pt x="3170" y="0"/>
                      <a:pt x="2984" y="52"/>
                    </a:cubicBezTo>
                    <a:cubicBezTo>
                      <a:pt x="2895" y="74"/>
                      <a:pt x="2821" y="74"/>
                      <a:pt x="2724" y="74"/>
                    </a:cubicBezTo>
                    <a:cubicBezTo>
                      <a:pt x="2643" y="74"/>
                      <a:pt x="2613" y="52"/>
                      <a:pt x="2539" y="52"/>
                    </a:cubicBezTo>
                    <a:cubicBezTo>
                      <a:pt x="2457" y="52"/>
                      <a:pt x="2450" y="171"/>
                      <a:pt x="2412" y="193"/>
                    </a:cubicBezTo>
                    <a:cubicBezTo>
                      <a:pt x="2301" y="267"/>
                      <a:pt x="2019" y="156"/>
                      <a:pt x="2019" y="364"/>
                    </a:cubicBezTo>
                    <a:cubicBezTo>
                      <a:pt x="2019" y="453"/>
                      <a:pt x="1997" y="483"/>
                      <a:pt x="2019" y="557"/>
                    </a:cubicBezTo>
                    <a:cubicBezTo>
                      <a:pt x="1915" y="564"/>
                      <a:pt x="1841" y="572"/>
                      <a:pt x="1811" y="564"/>
                    </a:cubicBezTo>
                    <a:cubicBezTo>
                      <a:pt x="1744" y="490"/>
                      <a:pt x="1440" y="586"/>
                      <a:pt x="1329" y="453"/>
                    </a:cubicBezTo>
                    <a:cubicBezTo>
                      <a:pt x="1217" y="334"/>
                      <a:pt x="965" y="379"/>
                      <a:pt x="801" y="290"/>
                    </a:cubicBezTo>
                    <a:cubicBezTo>
                      <a:pt x="757" y="275"/>
                      <a:pt x="698" y="371"/>
                      <a:pt x="594" y="290"/>
                    </a:cubicBezTo>
                    <a:cubicBezTo>
                      <a:pt x="549" y="252"/>
                      <a:pt x="334" y="215"/>
                      <a:pt x="260" y="238"/>
                    </a:cubicBezTo>
                    <a:cubicBezTo>
                      <a:pt x="148" y="282"/>
                      <a:pt x="119" y="223"/>
                      <a:pt x="81" y="193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169"/>
              <p:cNvSpPr>
                <a:spLocks/>
              </p:cNvSpPr>
              <p:nvPr/>
            </p:nvSpPr>
            <p:spPr bwMode="auto">
              <a:xfrm>
                <a:off x="6562961" y="4101900"/>
                <a:ext cx="279123" cy="414621"/>
              </a:xfrm>
              <a:custGeom>
                <a:avLst/>
                <a:gdLst>
                  <a:gd name="T0" fmla="*/ 65 w 1997"/>
                  <a:gd name="T1" fmla="*/ 248 h 2962"/>
                  <a:gd name="T2" fmla="*/ 72 w 1997"/>
                  <a:gd name="T3" fmla="*/ 233 h 2962"/>
                  <a:gd name="T4" fmla="*/ 80 w 1997"/>
                  <a:gd name="T5" fmla="*/ 220 h 2962"/>
                  <a:gd name="T6" fmla="*/ 106 w 1997"/>
                  <a:gd name="T7" fmla="*/ 200 h 2962"/>
                  <a:gd name="T8" fmla="*/ 124 w 1997"/>
                  <a:gd name="T9" fmla="*/ 167 h 2962"/>
                  <a:gd name="T10" fmla="*/ 133 w 1997"/>
                  <a:gd name="T11" fmla="*/ 149 h 2962"/>
                  <a:gd name="T12" fmla="*/ 151 w 1997"/>
                  <a:gd name="T13" fmla="*/ 135 h 2962"/>
                  <a:gd name="T14" fmla="*/ 160 w 1997"/>
                  <a:gd name="T15" fmla="*/ 113 h 2962"/>
                  <a:gd name="T16" fmla="*/ 163 w 1997"/>
                  <a:gd name="T17" fmla="*/ 65 h 2962"/>
                  <a:gd name="T18" fmla="*/ 169 w 1997"/>
                  <a:gd name="T19" fmla="*/ 36 h 2962"/>
                  <a:gd name="T20" fmla="*/ 133 w 1997"/>
                  <a:gd name="T21" fmla="*/ 9 h 2962"/>
                  <a:gd name="T22" fmla="*/ 116 w 1997"/>
                  <a:gd name="T23" fmla="*/ 1 h 2962"/>
                  <a:gd name="T24" fmla="*/ 89 w 1997"/>
                  <a:gd name="T25" fmla="*/ 4 h 2962"/>
                  <a:gd name="T26" fmla="*/ 89 w 1997"/>
                  <a:gd name="T27" fmla="*/ 14 h 2962"/>
                  <a:gd name="T28" fmla="*/ 79 w 1997"/>
                  <a:gd name="T29" fmla="*/ 16 h 2962"/>
                  <a:gd name="T30" fmla="*/ 67 w 1997"/>
                  <a:gd name="T31" fmla="*/ 32 h 2962"/>
                  <a:gd name="T32" fmla="*/ 78 w 1997"/>
                  <a:gd name="T33" fmla="*/ 57 h 2962"/>
                  <a:gd name="T34" fmla="*/ 63 w 1997"/>
                  <a:gd name="T35" fmla="*/ 65 h 2962"/>
                  <a:gd name="T36" fmla="*/ 70 w 1997"/>
                  <a:gd name="T37" fmla="*/ 77 h 2962"/>
                  <a:gd name="T38" fmla="*/ 77 w 1997"/>
                  <a:gd name="T39" fmla="*/ 98 h 2962"/>
                  <a:gd name="T40" fmla="*/ 46 w 1997"/>
                  <a:gd name="T41" fmla="*/ 151 h 2962"/>
                  <a:gd name="T42" fmla="*/ 9 w 1997"/>
                  <a:gd name="T43" fmla="*/ 172 h 2962"/>
                  <a:gd name="T44" fmla="*/ 6 w 1997"/>
                  <a:gd name="T45" fmla="*/ 201 h 2962"/>
                  <a:gd name="T46" fmla="*/ 0 w 1997"/>
                  <a:gd name="T47" fmla="*/ 208 h 2962"/>
                  <a:gd name="T48" fmla="*/ 13 w 1997"/>
                  <a:gd name="T49" fmla="*/ 208 h 2962"/>
                  <a:gd name="T50" fmla="*/ 65 w 1997"/>
                  <a:gd name="T51" fmla="*/ 248 h 29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997" h="2962">
                    <a:moveTo>
                      <a:pt x="765" y="2925"/>
                    </a:moveTo>
                    <a:cubicBezTo>
                      <a:pt x="802" y="2866"/>
                      <a:pt x="861" y="2828"/>
                      <a:pt x="854" y="2754"/>
                    </a:cubicBezTo>
                    <a:cubicBezTo>
                      <a:pt x="839" y="2687"/>
                      <a:pt x="839" y="2620"/>
                      <a:pt x="943" y="2591"/>
                    </a:cubicBezTo>
                    <a:cubicBezTo>
                      <a:pt x="1114" y="2554"/>
                      <a:pt x="1151" y="2509"/>
                      <a:pt x="1247" y="2361"/>
                    </a:cubicBezTo>
                    <a:cubicBezTo>
                      <a:pt x="1321" y="2235"/>
                      <a:pt x="1426" y="2079"/>
                      <a:pt x="1470" y="1967"/>
                    </a:cubicBezTo>
                    <a:cubicBezTo>
                      <a:pt x="1492" y="1901"/>
                      <a:pt x="1544" y="1819"/>
                      <a:pt x="1566" y="1759"/>
                    </a:cubicBezTo>
                    <a:cubicBezTo>
                      <a:pt x="1618" y="1641"/>
                      <a:pt x="1693" y="1678"/>
                      <a:pt x="1782" y="1589"/>
                    </a:cubicBezTo>
                    <a:cubicBezTo>
                      <a:pt x="1826" y="1544"/>
                      <a:pt x="1841" y="1433"/>
                      <a:pt x="1893" y="1336"/>
                    </a:cubicBezTo>
                    <a:lnTo>
                      <a:pt x="1930" y="772"/>
                    </a:lnTo>
                    <a:cubicBezTo>
                      <a:pt x="1930" y="631"/>
                      <a:pt x="1960" y="512"/>
                      <a:pt x="1997" y="423"/>
                    </a:cubicBezTo>
                    <a:cubicBezTo>
                      <a:pt x="1804" y="349"/>
                      <a:pt x="1700" y="141"/>
                      <a:pt x="1566" y="104"/>
                    </a:cubicBezTo>
                    <a:cubicBezTo>
                      <a:pt x="1544" y="89"/>
                      <a:pt x="1403" y="0"/>
                      <a:pt x="1366" y="15"/>
                    </a:cubicBezTo>
                    <a:cubicBezTo>
                      <a:pt x="1240" y="44"/>
                      <a:pt x="1166" y="22"/>
                      <a:pt x="1054" y="52"/>
                    </a:cubicBezTo>
                    <a:cubicBezTo>
                      <a:pt x="965" y="59"/>
                      <a:pt x="1054" y="111"/>
                      <a:pt x="1054" y="163"/>
                    </a:cubicBezTo>
                    <a:cubicBezTo>
                      <a:pt x="1054" y="260"/>
                      <a:pt x="973" y="193"/>
                      <a:pt x="935" y="193"/>
                    </a:cubicBezTo>
                    <a:cubicBezTo>
                      <a:pt x="891" y="193"/>
                      <a:pt x="728" y="334"/>
                      <a:pt x="787" y="379"/>
                    </a:cubicBezTo>
                    <a:cubicBezTo>
                      <a:pt x="935" y="497"/>
                      <a:pt x="832" y="572"/>
                      <a:pt x="921" y="668"/>
                    </a:cubicBezTo>
                    <a:cubicBezTo>
                      <a:pt x="1047" y="817"/>
                      <a:pt x="839" y="750"/>
                      <a:pt x="750" y="764"/>
                    </a:cubicBezTo>
                    <a:cubicBezTo>
                      <a:pt x="609" y="750"/>
                      <a:pt x="839" y="869"/>
                      <a:pt x="824" y="913"/>
                    </a:cubicBezTo>
                    <a:cubicBezTo>
                      <a:pt x="795" y="1032"/>
                      <a:pt x="921" y="1017"/>
                      <a:pt x="906" y="1158"/>
                    </a:cubicBezTo>
                    <a:cubicBezTo>
                      <a:pt x="898" y="1359"/>
                      <a:pt x="683" y="1351"/>
                      <a:pt x="549" y="1782"/>
                    </a:cubicBezTo>
                    <a:cubicBezTo>
                      <a:pt x="468" y="2101"/>
                      <a:pt x="178" y="1834"/>
                      <a:pt x="111" y="2034"/>
                    </a:cubicBezTo>
                    <a:cubicBezTo>
                      <a:pt x="97" y="2079"/>
                      <a:pt x="74" y="2376"/>
                      <a:pt x="74" y="2376"/>
                    </a:cubicBezTo>
                    <a:lnTo>
                      <a:pt x="0" y="2457"/>
                    </a:lnTo>
                    <a:lnTo>
                      <a:pt x="156" y="2457"/>
                    </a:lnTo>
                    <a:cubicBezTo>
                      <a:pt x="119" y="2962"/>
                      <a:pt x="616" y="2680"/>
                      <a:pt x="765" y="292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170"/>
              <p:cNvSpPr>
                <a:spLocks/>
              </p:cNvSpPr>
              <p:nvPr/>
            </p:nvSpPr>
            <p:spPr bwMode="auto">
              <a:xfrm>
                <a:off x="7071327" y="3137024"/>
                <a:ext cx="231225" cy="257692"/>
              </a:xfrm>
              <a:custGeom>
                <a:avLst/>
                <a:gdLst>
                  <a:gd name="T0" fmla="*/ 59 w 1648"/>
                  <a:gd name="T1" fmla="*/ 153 h 1848"/>
                  <a:gd name="T2" fmla="*/ 103 w 1648"/>
                  <a:gd name="T3" fmla="*/ 100 h 1848"/>
                  <a:gd name="T4" fmla="*/ 140 w 1648"/>
                  <a:gd name="T5" fmla="*/ 83 h 1848"/>
                  <a:gd name="T6" fmla="*/ 122 w 1648"/>
                  <a:gd name="T7" fmla="*/ 65 h 1848"/>
                  <a:gd name="T8" fmla="*/ 107 w 1648"/>
                  <a:gd name="T9" fmla="*/ 57 h 1848"/>
                  <a:gd name="T10" fmla="*/ 96 w 1648"/>
                  <a:gd name="T11" fmla="*/ 41 h 1848"/>
                  <a:gd name="T12" fmla="*/ 21 w 1648"/>
                  <a:gd name="T13" fmla="*/ 0 h 1848"/>
                  <a:gd name="T14" fmla="*/ 25 w 1648"/>
                  <a:gd name="T15" fmla="*/ 24 h 1848"/>
                  <a:gd name="T16" fmla="*/ 38 w 1648"/>
                  <a:gd name="T17" fmla="*/ 63 h 1848"/>
                  <a:gd name="T18" fmla="*/ 23 w 1648"/>
                  <a:gd name="T19" fmla="*/ 93 h 1848"/>
                  <a:gd name="T20" fmla="*/ 3 w 1648"/>
                  <a:gd name="T21" fmla="*/ 91 h 1848"/>
                  <a:gd name="T22" fmla="*/ 8 w 1648"/>
                  <a:gd name="T23" fmla="*/ 108 h 1848"/>
                  <a:gd name="T24" fmla="*/ 21 w 1648"/>
                  <a:gd name="T25" fmla="*/ 122 h 1848"/>
                  <a:gd name="T26" fmla="*/ 17 w 1648"/>
                  <a:gd name="T27" fmla="*/ 140 h 1848"/>
                  <a:gd name="T28" fmla="*/ 25 w 1648"/>
                  <a:gd name="T29" fmla="*/ 142 h 1848"/>
                  <a:gd name="T30" fmla="*/ 35 w 1648"/>
                  <a:gd name="T31" fmla="*/ 153 h 1848"/>
                  <a:gd name="T32" fmla="*/ 59 w 1648"/>
                  <a:gd name="T33" fmla="*/ 153 h 18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648" h="1848">
                    <a:moveTo>
                      <a:pt x="698" y="1811"/>
                    </a:moveTo>
                    <a:cubicBezTo>
                      <a:pt x="802" y="1536"/>
                      <a:pt x="965" y="1321"/>
                      <a:pt x="1210" y="1187"/>
                    </a:cubicBezTo>
                    <a:cubicBezTo>
                      <a:pt x="1381" y="1091"/>
                      <a:pt x="1529" y="1076"/>
                      <a:pt x="1648" y="987"/>
                    </a:cubicBezTo>
                    <a:cubicBezTo>
                      <a:pt x="1596" y="942"/>
                      <a:pt x="1485" y="801"/>
                      <a:pt x="1440" y="771"/>
                    </a:cubicBezTo>
                    <a:cubicBezTo>
                      <a:pt x="1395" y="757"/>
                      <a:pt x="1306" y="757"/>
                      <a:pt x="1262" y="675"/>
                    </a:cubicBezTo>
                    <a:cubicBezTo>
                      <a:pt x="1217" y="616"/>
                      <a:pt x="1173" y="505"/>
                      <a:pt x="1128" y="482"/>
                    </a:cubicBezTo>
                    <a:cubicBezTo>
                      <a:pt x="779" y="311"/>
                      <a:pt x="601" y="185"/>
                      <a:pt x="245" y="0"/>
                    </a:cubicBezTo>
                    <a:cubicBezTo>
                      <a:pt x="319" y="104"/>
                      <a:pt x="267" y="148"/>
                      <a:pt x="289" y="282"/>
                    </a:cubicBezTo>
                    <a:cubicBezTo>
                      <a:pt x="312" y="386"/>
                      <a:pt x="519" y="556"/>
                      <a:pt x="445" y="742"/>
                    </a:cubicBezTo>
                    <a:cubicBezTo>
                      <a:pt x="393" y="846"/>
                      <a:pt x="519" y="1202"/>
                      <a:pt x="267" y="1098"/>
                    </a:cubicBezTo>
                    <a:cubicBezTo>
                      <a:pt x="141" y="1046"/>
                      <a:pt x="148" y="1017"/>
                      <a:pt x="37" y="1083"/>
                    </a:cubicBezTo>
                    <a:cubicBezTo>
                      <a:pt x="0" y="1158"/>
                      <a:pt x="89" y="1284"/>
                      <a:pt x="89" y="1284"/>
                    </a:cubicBezTo>
                    <a:cubicBezTo>
                      <a:pt x="148" y="1388"/>
                      <a:pt x="156" y="1403"/>
                      <a:pt x="245" y="1440"/>
                    </a:cubicBezTo>
                    <a:cubicBezTo>
                      <a:pt x="282" y="1536"/>
                      <a:pt x="148" y="1522"/>
                      <a:pt x="200" y="1655"/>
                    </a:cubicBezTo>
                    <a:cubicBezTo>
                      <a:pt x="208" y="1685"/>
                      <a:pt x="275" y="1677"/>
                      <a:pt x="297" y="1677"/>
                    </a:cubicBezTo>
                    <a:cubicBezTo>
                      <a:pt x="371" y="1692"/>
                      <a:pt x="349" y="1782"/>
                      <a:pt x="408" y="1811"/>
                    </a:cubicBezTo>
                    <a:cubicBezTo>
                      <a:pt x="482" y="1848"/>
                      <a:pt x="698" y="1811"/>
                      <a:pt x="698" y="1811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171"/>
              <p:cNvSpPr>
                <a:spLocks/>
              </p:cNvSpPr>
              <p:nvPr/>
            </p:nvSpPr>
            <p:spPr bwMode="auto">
              <a:xfrm>
                <a:off x="7082888" y="3054430"/>
                <a:ext cx="374915" cy="219699"/>
              </a:xfrm>
              <a:custGeom>
                <a:avLst/>
                <a:gdLst>
                  <a:gd name="T0" fmla="*/ 227 w 2680"/>
                  <a:gd name="T1" fmla="*/ 26 h 1574"/>
                  <a:gd name="T2" fmla="*/ 200 w 2680"/>
                  <a:gd name="T3" fmla="*/ 15 h 1574"/>
                  <a:gd name="T4" fmla="*/ 182 w 2680"/>
                  <a:gd name="T5" fmla="*/ 18 h 1574"/>
                  <a:gd name="T6" fmla="*/ 146 w 2680"/>
                  <a:gd name="T7" fmla="*/ 29 h 1574"/>
                  <a:gd name="T8" fmla="*/ 124 w 2680"/>
                  <a:gd name="T9" fmla="*/ 44 h 1574"/>
                  <a:gd name="T10" fmla="*/ 106 w 2680"/>
                  <a:gd name="T11" fmla="*/ 42 h 1574"/>
                  <a:gd name="T12" fmla="*/ 94 w 2680"/>
                  <a:gd name="T13" fmla="*/ 45 h 1574"/>
                  <a:gd name="T14" fmla="*/ 48 w 2680"/>
                  <a:gd name="T15" fmla="*/ 19 h 1574"/>
                  <a:gd name="T16" fmla="*/ 31 w 2680"/>
                  <a:gd name="T17" fmla="*/ 18 h 1574"/>
                  <a:gd name="T18" fmla="*/ 6 w 2680"/>
                  <a:gd name="T19" fmla="*/ 33 h 1574"/>
                  <a:gd name="T20" fmla="*/ 0 w 2680"/>
                  <a:gd name="T21" fmla="*/ 33 h 1574"/>
                  <a:gd name="T22" fmla="*/ 14 w 2680"/>
                  <a:gd name="T23" fmla="*/ 50 h 1574"/>
                  <a:gd name="T24" fmla="*/ 89 w 2680"/>
                  <a:gd name="T25" fmla="*/ 91 h 1574"/>
                  <a:gd name="T26" fmla="*/ 101 w 2680"/>
                  <a:gd name="T27" fmla="*/ 107 h 1574"/>
                  <a:gd name="T28" fmla="*/ 116 w 2680"/>
                  <a:gd name="T29" fmla="*/ 115 h 1574"/>
                  <a:gd name="T30" fmla="*/ 133 w 2680"/>
                  <a:gd name="T31" fmla="*/ 133 h 1574"/>
                  <a:gd name="T32" fmla="*/ 140 w 2680"/>
                  <a:gd name="T33" fmla="*/ 127 h 1574"/>
                  <a:gd name="T34" fmla="*/ 211 w 2680"/>
                  <a:gd name="T35" fmla="*/ 46 h 1574"/>
                  <a:gd name="T36" fmla="*/ 227 w 2680"/>
                  <a:gd name="T37" fmla="*/ 26 h 157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680" h="1574">
                    <a:moveTo>
                      <a:pt x="2680" y="312"/>
                    </a:moveTo>
                    <a:cubicBezTo>
                      <a:pt x="2591" y="252"/>
                      <a:pt x="2487" y="178"/>
                      <a:pt x="2361" y="178"/>
                    </a:cubicBezTo>
                    <a:cubicBezTo>
                      <a:pt x="2309" y="178"/>
                      <a:pt x="2197" y="282"/>
                      <a:pt x="2145" y="215"/>
                    </a:cubicBezTo>
                    <a:cubicBezTo>
                      <a:pt x="2145" y="215"/>
                      <a:pt x="1871" y="133"/>
                      <a:pt x="1722" y="341"/>
                    </a:cubicBezTo>
                    <a:cubicBezTo>
                      <a:pt x="1656" y="445"/>
                      <a:pt x="1641" y="475"/>
                      <a:pt x="1463" y="519"/>
                    </a:cubicBezTo>
                    <a:cubicBezTo>
                      <a:pt x="1403" y="534"/>
                      <a:pt x="1411" y="601"/>
                      <a:pt x="1255" y="497"/>
                    </a:cubicBezTo>
                    <a:cubicBezTo>
                      <a:pt x="1218" y="475"/>
                      <a:pt x="1180" y="534"/>
                      <a:pt x="1114" y="534"/>
                    </a:cubicBezTo>
                    <a:cubicBezTo>
                      <a:pt x="883" y="534"/>
                      <a:pt x="779" y="126"/>
                      <a:pt x="564" y="230"/>
                    </a:cubicBezTo>
                    <a:cubicBezTo>
                      <a:pt x="527" y="245"/>
                      <a:pt x="483" y="0"/>
                      <a:pt x="371" y="208"/>
                    </a:cubicBezTo>
                    <a:cubicBezTo>
                      <a:pt x="275" y="275"/>
                      <a:pt x="163" y="386"/>
                      <a:pt x="67" y="386"/>
                    </a:cubicBezTo>
                    <a:lnTo>
                      <a:pt x="0" y="386"/>
                    </a:lnTo>
                    <a:cubicBezTo>
                      <a:pt x="0" y="490"/>
                      <a:pt x="141" y="549"/>
                      <a:pt x="171" y="594"/>
                    </a:cubicBezTo>
                    <a:cubicBezTo>
                      <a:pt x="527" y="779"/>
                      <a:pt x="705" y="905"/>
                      <a:pt x="1054" y="1076"/>
                    </a:cubicBezTo>
                    <a:cubicBezTo>
                      <a:pt x="1099" y="1099"/>
                      <a:pt x="1143" y="1210"/>
                      <a:pt x="1188" y="1269"/>
                    </a:cubicBezTo>
                    <a:cubicBezTo>
                      <a:pt x="1232" y="1351"/>
                      <a:pt x="1321" y="1351"/>
                      <a:pt x="1366" y="1365"/>
                    </a:cubicBezTo>
                    <a:cubicBezTo>
                      <a:pt x="1411" y="1395"/>
                      <a:pt x="1522" y="1522"/>
                      <a:pt x="1574" y="1574"/>
                    </a:cubicBezTo>
                    <a:cubicBezTo>
                      <a:pt x="1604" y="1544"/>
                      <a:pt x="1626" y="1544"/>
                      <a:pt x="1648" y="1499"/>
                    </a:cubicBezTo>
                    <a:cubicBezTo>
                      <a:pt x="1893" y="1150"/>
                      <a:pt x="2190" y="928"/>
                      <a:pt x="2487" y="549"/>
                    </a:cubicBezTo>
                    <a:cubicBezTo>
                      <a:pt x="2539" y="490"/>
                      <a:pt x="2606" y="408"/>
                      <a:pt x="2680" y="312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175"/>
              <p:cNvSpPr>
                <a:spLocks/>
              </p:cNvSpPr>
              <p:nvPr/>
            </p:nvSpPr>
            <p:spPr bwMode="auto">
              <a:xfrm>
                <a:off x="7039947" y="2725707"/>
                <a:ext cx="462450" cy="272559"/>
              </a:xfrm>
              <a:custGeom>
                <a:avLst/>
                <a:gdLst>
                  <a:gd name="T0" fmla="*/ 0 w 3304"/>
                  <a:gd name="T1" fmla="*/ 115 h 1945"/>
                  <a:gd name="T2" fmla="*/ 13 w 3304"/>
                  <a:gd name="T3" fmla="*/ 94 h 1945"/>
                  <a:gd name="T4" fmla="*/ 4 w 3304"/>
                  <a:gd name="T5" fmla="*/ 62 h 1945"/>
                  <a:gd name="T6" fmla="*/ 14 w 3304"/>
                  <a:gd name="T7" fmla="*/ 26 h 1945"/>
                  <a:gd name="T8" fmla="*/ 20 w 3304"/>
                  <a:gd name="T9" fmla="*/ 26 h 1945"/>
                  <a:gd name="T10" fmla="*/ 45 w 3304"/>
                  <a:gd name="T11" fmla="*/ 31 h 1945"/>
                  <a:gd name="T12" fmla="*/ 108 w 3304"/>
                  <a:gd name="T13" fmla="*/ 0 h 1945"/>
                  <a:gd name="T14" fmla="*/ 118 w 3304"/>
                  <a:gd name="T15" fmla="*/ 6 h 1945"/>
                  <a:gd name="T16" fmla="*/ 93 w 3304"/>
                  <a:gd name="T17" fmla="*/ 47 h 1945"/>
                  <a:gd name="T18" fmla="*/ 114 w 3304"/>
                  <a:gd name="T19" fmla="*/ 59 h 1945"/>
                  <a:gd name="T20" fmla="*/ 132 w 3304"/>
                  <a:gd name="T21" fmla="*/ 54 h 1945"/>
                  <a:gd name="T22" fmla="*/ 149 w 3304"/>
                  <a:gd name="T23" fmla="*/ 71 h 1945"/>
                  <a:gd name="T24" fmla="*/ 165 w 3304"/>
                  <a:gd name="T25" fmla="*/ 50 h 1945"/>
                  <a:gd name="T26" fmla="*/ 165 w 3304"/>
                  <a:gd name="T27" fmla="*/ 39 h 1945"/>
                  <a:gd name="T28" fmla="*/ 175 w 3304"/>
                  <a:gd name="T29" fmla="*/ 28 h 1945"/>
                  <a:gd name="T30" fmla="*/ 194 w 3304"/>
                  <a:gd name="T31" fmla="*/ 40 h 1945"/>
                  <a:gd name="T32" fmla="*/ 214 w 3304"/>
                  <a:gd name="T33" fmla="*/ 37 h 1945"/>
                  <a:gd name="T34" fmla="*/ 271 w 3304"/>
                  <a:gd name="T35" fmla="*/ 47 h 1945"/>
                  <a:gd name="T36" fmla="*/ 274 w 3304"/>
                  <a:gd name="T37" fmla="*/ 74 h 1945"/>
                  <a:gd name="T38" fmla="*/ 280 w 3304"/>
                  <a:gd name="T39" fmla="*/ 105 h 1945"/>
                  <a:gd name="T40" fmla="*/ 277 w 3304"/>
                  <a:gd name="T41" fmla="*/ 125 h 1945"/>
                  <a:gd name="T42" fmla="*/ 231 w 3304"/>
                  <a:gd name="T43" fmla="*/ 115 h 1945"/>
                  <a:gd name="T44" fmla="*/ 225 w 3304"/>
                  <a:gd name="T45" fmla="*/ 128 h 1945"/>
                  <a:gd name="T46" fmla="*/ 204 w 3304"/>
                  <a:gd name="T47" fmla="*/ 135 h 1945"/>
                  <a:gd name="T48" fmla="*/ 168 w 3304"/>
                  <a:gd name="T49" fmla="*/ 135 h 1945"/>
                  <a:gd name="T50" fmla="*/ 147 w 3304"/>
                  <a:gd name="T51" fmla="*/ 150 h 1945"/>
                  <a:gd name="T52" fmla="*/ 124 w 3304"/>
                  <a:gd name="T53" fmla="*/ 165 h 1945"/>
                  <a:gd name="T54" fmla="*/ 111 w 3304"/>
                  <a:gd name="T55" fmla="*/ 147 h 1945"/>
                  <a:gd name="T56" fmla="*/ 102 w 3304"/>
                  <a:gd name="T57" fmla="*/ 140 h 1945"/>
                  <a:gd name="T58" fmla="*/ 121 w 3304"/>
                  <a:gd name="T59" fmla="*/ 106 h 1945"/>
                  <a:gd name="T60" fmla="*/ 96 w 3304"/>
                  <a:gd name="T61" fmla="*/ 96 h 1945"/>
                  <a:gd name="T62" fmla="*/ 52 w 3304"/>
                  <a:gd name="T63" fmla="*/ 125 h 1945"/>
                  <a:gd name="T64" fmla="*/ 35 w 3304"/>
                  <a:gd name="T65" fmla="*/ 128 h 1945"/>
                  <a:gd name="T66" fmla="*/ 22 w 3304"/>
                  <a:gd name="T67" fmla="*/ 122 h 1945"/>
                  <a:gd name="T68" fmla="*/ 0 w 3304"/>
                  <a:gd name="T69" fmla="*/ 115 h 194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304" h="1945">
                    <a:moveTo>
                      <a:pt x="0" y="1358"/>
                    </a:moveTo>
                    <a:cubicBezTo>
                      <a:pt x="51" y="1232"/>
                      <a:pt x="126" y="1165"/>
                      <a:pt x="155" y="1113"/>
                    </a:cubicBezTo>
                    <a:cubicBezTo>
                      <a:pt x="237" y="950"/>
                      <a:pt x="51" y="1024"/>
                      <a:pt x="51" y="735"/>
                    </a:cubicBezTo>
                    <a:cubicBezTo>
                      <a:pt x="51" y="505"/>
                      <a:pt x="163" y="475"/>
                      <a:pt x="163" y="304"/>
                    </a:cubicBezTo>
                    <a:lnTo>
                      <a:pt x="237" y="304"/>
                    </a:lnTo>
                    <a:cubicBezTo>
                      <a:pt x="326" y="304"/>
                      <a:pt x="393" y="364"/>
                      <a:pt x="527" y="364"/>
                    </a:cubicBezTo>
                    <a:cubicBezTo>
                      <a:pt x="846" y="364"/>
                      <a:pt x="965" y="0"/>
                      <a:pt x="1277" y="0"/>
                    </a:cubicBezTo>
                    <a:cubicBezTo>
                      <a:pt x="1351" y="0"/>
                      <a:pt x="1395" y="29"/>
                      <a:pt x="1395" y="74"/>
                    </a:cubicBezTo>
                    <a:cubicBezTo>
                      <a:pt x="1395" y="282"/>
                      <a:pt x="1098" y="326"/>
                      <a:pt x="1098" y="549"/>
                    </a:cubicBezTo>
                    <a:cubicBezTo>
                      <a:pt x="1098" y="608"/>
                      <a:pt x="1269" y="690"/>
                      <a:pt x="1351" y="690"/>
                    </a:cubicBezTo>
                    <a:cubicBezTo>
                      <a:pt x="1440" y="690"/>
                      <a:pt x="1485" y="638"/>
                      <a:pt x="1559" y="638"/>
                    </a:cubicBezTo>
                    <a:cubicBezTo>
                      <a:pt x="1663" y="638"/>
                      <a:pt x="1655" y="839"/>
                      <a:pt x="1759" y="839"/>
                    </a:cubicBezTo>
                    <a:cubicBezTo>
                      <a:pt x="1871" y="839"/>
                      <a:pt x="1945" y="653"/>
                      <a:pt x="1945" y="594"/>
                    </a:cubicBezTo>
                    <a:lnTo>
                      <a:pt x="1945" y="460"/>
                    </a:lnTo>
                    <a:cubicBezTo>
                      <a:pt x="1945" y="415"/>
                      <a:pt x="1982" y="326"/>
                      <a:pt x="2063" y="326"/>
                    </a:cubicBezTo>
                    <a:cubicBezTo>
                      <a:pt x="2160" y="326"/>
                      <a:pt x="2182" y="475"/>
                      <a:pt x="2286" y="475"/>
                    </a:cubicBezTo>
                    <a:lnTo>
                      <a:pt x="2531" y="438"/>
                    </a:lnTo>
                    <a:cubicBezTo>
                      <a:pt x="2776" y="438"/>
                      <a:pt x="2940" y="557"/>
                      <a:pt x="3199" y="557"/>
                    </a:cubicBezTo>
                    <a:cubicBezTo>
                      <a:pt x="3222" y="653"/>
                      <a:pt x="3237" y="757"/>
                      <a:pt x="3237" y="868"/>
                    </a:cubicBezTo>
                    <a:cubicBezTo>
                      <a:pt x="3237" y="950"/>
                      <a:pt x="3304" y="1143"/>
                      <a:pt x="3304" y="1232"/>
                    </a:cubicBezTo>
                    <a:cubicBezTo>
                      <a:pt x="3304" y="1351"/>
                      <a:pt x="3281" y="1358"/>
                      <a:pt x="3266" y="1477"/>
                    </a:cubicBezTo>
                    <a:cubicBezTo>
                      <a:pt x="3162" y="1470"/>
                      <a:pt x="3066" y="1187"/>
                      <a:pt x="2724" y="1358"/>
                    </a:cubicBezTo>
                    <a:cubicBezTo>
                      <a:pt x="2672" y="1388"/>
                      <a:pt x="2695" y="1470"/>
                      <a:pt x="2650" y="1514"/>
                    </a:cubicBezTo>
                    <a:cubicBezTo>
                      <a:pt x="2553" y="1537"/>
                      <a:pt x="2472" y="1529"/>
                      <a:pt x="2405" y="1596"/>
                    </a:cubicBezTo>
                    <a:cubicBezTo>
                      <a:pt x="2316" y="1648"/>
                      <a:pt x="1982" y="1596"/>
                      <a:pt x="1982" y="1596"/>
                    </a:cubicBezTo>
                    <a:cubicBezTo>
                      <a:pt x="1930" y="1692"/>
                      <a:pt x="1811" y="1596"/>
                      <a:pt x="1737" y="1774"/>
                    </a:cubicBezTo>
                    <a:cubicBezTo>
                      <a:pt x="1685" y="1900"/>
                      <a:pt x="1640" y="1945"/>
                      <a:pt x="1462" y="1945"/>
                    </a:cubicBezTo>
                    <a:cubicBezTo>
                      <a:pt x="1329" y="1945"/>
                      <a:pt x="1395" y="1759"/>
                      <a:pt x="1306" y="1730"/>
                    </a:cubicBezTo>
                    <a:cubicBezTo>
                      <a:pt x="1269" y="1722"/>
                      <a:pt x="1187" y="1715"/>
                      <a:pt x="1202" y="1655"/>
                    </a:cubicBezTo>
                    <a:cubicBezTo>
                      <a:pt x="1269" y="1381"/>
                      <a:pt x="1388" y="1418"/>
                      <a:pt x="1425" y="1247"/>
                    </a:cubicBezTo>
                    <a:cubicBezTo>
                      <a:pt x="1358" y="1143"/>
                      <a:pt x="1247" y="1039"/>
                      <a:pt x="1128" y="1128"/>
                    </a:cubicBezTo>
                    <a:cubicBezTo>
                      <a:pt x="965" y="1284"/>
                      <a:pt x="675" y="1477"/>
                      <a:pt x="616" y="1470"/>
                    </a:cubicBezTo>
                    <a:cubicBezTo>
                      <a:pt x="497" y="1455"/>
                      <a:pt x="445" y="1514"/>
                      <a:pt x="408" y="1514"/>
                    </a:cubicBezTo>
                    <a:cubicBezTo>
                      <a:pt x="319" y="1514"/>
                      <a:pt x="393" y="1418"/>
                      <a:pt x="259" y="1433"/>
                    </a:cubicBezTo>
                    <a:cubicBezTo>
                      <a:pt x="141" y="1447"/>
                      <a:pt x="81" y="1381"/>
                      <a:pt x="0" y="135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177"/>
              <p:cNvSpPr>
                <a:spLocks/>
              </p:cNvSpPr>
              <p:nvPr/>
            </p:nvSpPr>
            <p:spPr bwMode="auto">
              <a:xfrm>
                <a:off x="5292545" y="3483917"/>
                <a:ext cx="868746" cy="784639"/>
              </a:xfrm>
              <a:custGeom>
                <a:avLst/>
                <a:gdLst>
                  <a:gd name="T0" fmla="*/ 500 w 6206"/>
                  <a:gd name="T1" fmla="*/ 75 h 5605"/>
                  <a:gd name="T2" fmla="*/ 464 w 6206"/>
                  <a:gd name="T3" fmla="*/ 70 h 5605"/>
                  <a:gd name="T4" fmla="*/ 423 w 6206"/>
                  <a:gd name="T5" fmla="*/ 80 h 5605"/>
                  <a:gd name="T6" fmla="*/ 412 w 6206"/>
                  <a:gd name="T7" fmla="*/ 70 h 5605"/>
                  <a:gd name="T8" fmla="*/ 399 w 6206"/>
                  <a:gd name="T9" fmla="*/ 89 h 5605"/>
                  <a:gd name="T10" fmla="*/ 369 w 6206"/>
                  <a:gd name="T11" fmla="*/ 65 h 5605"/>
                  <a:gd name="T12" fmla="*/ 361 w 6206"/>
                  <a:gd name="T13" fmla="*/ 65 h 5605"/>
                  <a:gd name="T14" fmla="*/ 349 w 6206"/>
                  <a:gd name="T15" fmla="*/ 73 h 5605"/>
                  <a:gd name="T16" fmla="*/ 334 w 6206"/>
                  <a:gd name="T17" fmla="*/ 51 h 5605"/>
                  <a:gd name="T18" fmla="*/ 303 w 6206"/>
                  <a:gd name="T19" fmla="*/ 43 h 5605"/>
                  <a:gd name="T20" fmla="*/ 285 w 6206"/>
                  <a:gd name="T21" fmla="*/ 60 h 5605"/>
                  <a:gd name="T22" fmla="*/ 230 w 6206"/>
                  <a:gd name="T23" fmla="*/ 35 h 5605"/>
                  <a:gd name="T24" fmla="*/ 228 w 6206"/>
                  <a:gd name="T25" fmla="*/ 0 h 5605"/>
                  <a:gd name="T26" fmla="*/ 208 w 6206"/>
                  <a:gd name="T27" fmla="*/ 31 h 5605"/>
                  <a:gd name="T28" fmla="*/ 196 w 6206"/>
                  <a:gd name="T29" fmla="*/ 35 h 5605"/>
                  <a:gd name="T30" fmla="*/ 188 w 6206"/>
                  <a:gd name="T31" fmla="*/ 47 h 5605"/>
                  <a:gd name="T32" fmla="*/ 173 w 6206"/>
                  <a:gd name="T33" fmla="*/ 96 h 5605"/>
                  <a:gd name="T34" fmla="*/ 156 w 6206"/>
                  <a:gd name="T35" fmla="*/ 150 h 5605"/>
                  <a:gd name="T36" fmla="*/ 135 w 6206"/>
                  <a:gd name="T37" fmla="*/ 159 h 5605"/>
                  <a:gd name="T38" fmla="*/ 108 w 6206"/>
                  <a:gd name="T39" fmla="*/ 208 h 5605"/>
                  <a:gd name="T40" fmla="*/ 80 w 6206"/>
                  <a:gd name="T41" fmla="*/ 219 h 5605"/>
                  <a:gd name="T42" fmla="*/ 64 w 6206"/>
                  <a:gd name="T43" fmla="*/ 238 h 5605"/>
                  <a:gd name="T44" fmla="*/ 45 w 6206"/>
                  <a:gd name="T45" fmla="*/ 271 h 5605"/>
                  <a:gd name="T46" fmla="*/ 19 w 6206"/>
                  <a:gd name="T47" fmla="*/ 305 h 5605"/>
                  <a:gd name="T48" fmla="*/ 8 w 6206"/>
                  <a:gd name="T49" fmla="*/ 330 h 5605"/>
                  <a:gd name="T50" fmla="*/ 16 w 6206"/>
                  <a:gd name="T51" fmla="*/ 369 h 5605"/>
                  <a:gd name="T52" fmla="*/ 37 w 6206"/>
                  <a:gd name="T53" fmla="*/ 397 h 5605"/>
                  <a:gd name="T54" fmla="*/ 28 w 6206"/>
                  <a:gd name="T55" fmla="*/ 410 h 5605"/>
                  <a:gd name="T56" fmla="*/ 64 w 6206"/>
                  <a:gd name="T57" fmla="*/ 423 h 5605"/>
                  <a:gd name="T58" fmla="*/ 93 w 6206"/>
                  <a:gd name="T59" fmla="*/ 443 h 5605"/>
                  <a:gd name="T60" fmla="*/ 135 w 6206"/>
                  <a:gd name="T61" fmla="*/ 457 h 5605"/>
                  <a:gd name="T62" fmla="*/ 168 w 6206"/>
                  <a:gd name="T63" fmla="*/ 475 h 5605"/>
                  <a:gd name="T64" fmla="*/ 197 w 6206"/>
                  <a:gd name="T65" fmla="*/ 446 h 5605"/>
                  <a:gd name="T66" fmla="*/ 203 w 6206"/>
                  <a:gd name="T67" fmla="*/ 428 h 5605"/>
                  <a:gd name="T68" fmla="*/ 229 w 6206"/>
                  <a:gd name="T69" fmla="*/ 420 h 5605"/>
                  <a:gd name="T70" fmla="*/ 257 w 6206"/>
                  <a:gd name="T71" fmla="*/ 413 h 5605"/>
                  <a:gd name="T72" fmla="*/ 275 w 6206"/>
                  <a:gd name="T73" fmla="*/ 419 h 5605"/>
                  <a:gd name="T74" fmla="*/ 287 w 6206"/>
                  <a:gd name="T75" fmla="*/ 405 h 5605"/>
                  <a:gd name="T76" fmla="*/ 310 w 6206"/>
                  <a:gd name="T77" fmla="*/ 401 h 5605"/>
                  <a:gd name="T78" fmla="*/ 347 w 6206"/>
                  <a:gd name="T79" fmla="*/ 401 h 5605"/>
                  <a:gd name="T80" fmla="*/ 377 w 6206"/>
                  <a:gd name="T81" fmla="*/ 410 h 5605"/>
                  <a:gd name="T82" fmla="*/ 407 w 6206"/>
                  <a:gd name="T83" fmla="*/ 391 h 5605"/>
                  <a:gd name="T84" fmla="*/ 418 w 6206"/>
                  <a:gd name="T85" fmla="*/ 367 h 5605"/>
                  <a:gd name="T86" fmla="*/ 422 w 6206"/>
                  <a:gd name="T87" fmla="*/ 345 h 5605"/>
                  <a:gd name="T88" fmla="*/ 405 w 6206"/>
                  <a:gd name="T89" fmla="*/ 332 h 5605"/>
                  <a:gd name="T90" fmla="*/ 429 w 6206"/>
                  <a:gd name="T91" fmla="*/ 301 h 5605"/>
                  <a:gd name="T92" fmla="*/ 413 w 6206"/>
                  <a:gd name="T93" fmla="*/ 268 h 5605"/>
                  <a:gd name="T94" fmla="*/ 423 w 6206"/>
                  <a:gd name="T95" fmla="*/ 242 h 5605"/>
                  <a:gd name="T96" fmla="*/ 454 w 6206"/>
                  <a:gd name="T97" fmla="*/ 224 h 5605"/>
                  <a:gd name="T98" fmla="*/ 450 w 6206"/>
                  <a:gd name="T99" fmla="*/ 198 h 5605"/>
                  <a:gd name="T100" fmla="*/ 456 w 6206"/>
                  <a:gd name="T101" fmla="*/ 184 h 5605"/>
                  <a:gd name="T102" fmla="*/ 453 w 6206"/>
                  <a:gd name="T103" fmla="*/ 171 h 5605"/>
                  <a:gd name="T104" fmla="*/ 464 w 6206"/>
                  <a:gd name="T105" fmla="*/ 164 h 5605"/>
                  <a:gd name="T106" fmla="*/ 478 w 6206"/>
                  <a:gd name="T107" fmla="*/ 164 h 5605"/>
                  <a:gd name="T108" fmla="*/ 478 w 6206"/>
                  <a:gd name="T109" fmla="*/ 151 h 5605"/>
                  <a:gd name="T110" fmla="*/ 485 w 6206"/>
                  <a:gd name="T111" fmla="*/ 143 h 5605"/>
                  <a:gd name="T112" fmla="*/ 507 w 6206"/>
                  <a:gd name="T113" fmla="*/ 159 h 5605"/>
                  <a:gd name="T114" fmla="*/ 525 w 6206"/>
                  <a:gd name="T115" fmla="*/ 145 h 5605"/>
                  <a:gd name="T116" fmla="*/ 524 w 6206"/>
                  <a:gd name="T117" fmla="*/ 121 h 5605"/>
                  <a:gd name="T118" fmla="*/ 502 w 6206"/>
                  <a:gd name="T119" fmla="*/ 75 h 5605"/>
                  <a:gd name="T120" fmla="*/ 500 w 6206"/>
                  <a:gd name="T121" fmla="*/ 75 h 56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6206" h="5605">
                    <a:moveTo>
                      <a:pt x="5902" y="884"/>
                    </a:moveTo>
                    <a:cubicBezTo>
                      <a:pt x="5776" y="869"/>
                      <a:pt x="5568" y="898"/>
                      <a:pt x="5479" y="824"/>
                    </a:cubicBezTo>
                    <a:cubicBezTo>
                      <a:pt x="5331" y="973"/>
                      <a:pt x="5152" y="787"/>
                      <a:pt x="4996" y="943"/>
                    </a:cubicBezTo>
                    <a:cubicBezTo>
                      <a:pt x="4959" y="884"/>
                      <a:pt x="4930" y="861"/>
                      <a:pt x="4863" y="824"/>
                    </a:cubicBezTo>
                    <a:cubicBezTo>
                      <a:pt x="4811" y="921"/>
                      <a:pt x="4722" y="921"/>
                      <a:pt x="4707" y="1054"/>
                    </a:cubicBezTo>
                    <a:cubicBezTo>
                      <a:pt x="4529" y="1054"/>
                      <a:pt x="4351" y="995"/>
                      <a:pt x="4351" y="772"/>
                    </a:cubicBezTo>
                    <a:lnTo>
                      <a:pt x="4254" y="772"/>
                    </a:lnTo>
                    <a:cubicBezTo>
                      <a:pt x="4224" y="787"/>
                      <a:pt x="4195" y="861"/>
                      <a:pt x="4113" y="861"/>
                    </a:cubicBezTo>
                    <a:cubicBezTo>
                      <a:pt x="4017" y="861"/>
                      <a:pt x="4002" y="639"/>
                      <a:pt x="3942" y="601"/>
                    </a:cubicBezTo>
                    <a:cubicBezTo>
                      <a:pt x="3920" y="579"/>
                      <a:pt x="3608" y="513"/>
                      <a:pt x="3571" y="513"/>
                    </a:cubicBezTo>
                    <a:cubicBezTo>
                      <a:pt x="3467" y="513"/>
                      <a:pt x="3467" y="706"/>
                      <a:pt x="3363" y="706"/>
                    </a:cubicBezTo>
                    <a:cubicBezTo>
                      <a:pt x="3244" y="706"/>
                      <a:pt x="2710" y="453"/>
                      <a:pt x="2710" y="416"/>
                    </a:cubicBezTo>
                    <a:cubicBezTo>
                      <a:pt x="2710" y="386"/>
                      <a:pt x="2732" y="119"/>
                      <a:pt x="2688" y="0"/>
                    </a:cubicBezTo>
                    <a:cubicBezTo>
                      <a:pt x="2517" y="119"/>
                      <a:pt x="2576" y="178"/>
                      <a:pt x="2450" y="364"/>
                    </a:cubicBezTo>
                    <a:lnTo>
                      <a:pt x="2317" y="416"/>
                    </a:lnTo>
                    <a:cubicBezTo>
                      <a:pt x="2294" y="468"/>
                      <a:pt x="2272" y="513"/>
                      <a:pt x="2220" y="550"/>
                    </a:cubicBezTo>
                    <a:cubicBezTo>
                      <a:pt x="1923" y="765"/>
                      <a:pt x="2176" y="1032"/>
                      <a:pt x="2042" y="1129"/>
                    </a:cubicBezTo>
                    <a:cubicBezTo>
                      <a:pt x="1953" y="1180"/>
                      <a:pt x="2057" y="1552"/>
                      <a:pt x="1841" y="1774"/>
                    </a:cubicBezTo>
                    <a:cubicBezTo>
                      <a:pt x="1723" y="1901"/>
                      <a:pt x="1723" y="1745"/>
                      <a:pt x="1589" y="1871"/>
                    </a:cubicBezTo>
                    <a:cubicBezTo>
                      <a:pt x="1173" y="2257"/>
                      <a:pt x="1388" y="2294"/>
                      <a:pt x="1277" y="2450"/>
                    </a:cubicBezTo>
                    <a:cubicBezTo>
                      <a:pt x="1158" y="2621"/>
                      <a:pt x="1032" y="2561"/>
                      <a:pt x="943" y="2584"/>
                    </a:cubicBezTo>
                    <a:cubicBezTo>
                      <a:pt x="906" y="2606"/>
                      <a:pt x="750" y="2762"/>
                      <a:pt x="758" y="2806"/>
                    </a:cubicBezTo>
                    <a:cubicBezTo>
                      <a:pt x="765" y="2888"/>
                      <a:pt x="579" y="2977"/>
                      <a:pt x="527" y="3192"/>
                    </a:cubicBezTo>
                    <a:cubicBezTo>
                      <a:pt x="490" y="3393"/>
                      <a:pt x="305" y="3237"/>
                      <a:pt x="223" y="3601"/>
                    </a:cubicBezTo>
                    <a:cubicBezTo>
                      <a:pt x="193" y="3720"/>
                      <a:pt x="126" y="3675"/>
                      <a:pt x="97" y="3898"/>
                    </a:cubicBezTo>
                    <a:cubicBezTo>
                      <a:pt x="82" y="4053"/>
                      <a:pt x="267" y="4069"/>
                      <a:pt x="193" y="4350"/>
                    </a:cubicBezTo>
                    <a:cubicBezTo>
                      <a:pt x="0" y="4759"/>
                      <a:pt x="446" y="4588"/>
                      <a:pt x="438" y="4685"/>
                    </a:cubicBezTo>
                    <a:cubicBezTo>
                      <a:pt x="431" y="4781"/>
                      <a:pt x="357" y="4744"/>
                      <a:pt x="334" y="4841"/>
                    </a:cubicBezTo>
                    <a:cubicBezTo>
                      <a:pt x="312" y="4967"/>
                      <a:pt x="609" y="4937"/>
                      <a:pt x="758" y="4996"/>
                    </a:cubicBezTo>
                    <a:cubicBezTo>
                      <a:pt x="824" y="5123"/>
                      <a:pt x="943" y="4996"/>
                      <a:pt x="1099" y="5226"/>
                    </a:cubicBezTo>
                    <a:cubicBezTo>
                      <a:pt x="1166" y="5316"/>
                      <a:pt x="1552" y="5286"/>
                      <a:pt x="1589" y="5390"/>
                    </a:cubicBezTo>
                    <a:cubicBezTo>
                      <a:pt x="1633" y="5509"/>
                      <a:pt x="1878" y="5457"/>
                      <a:pt x="1982" y="5605"/>
                    </a:cubicBezTo>
                    <a:cubicBezTo>
                      <a:pt x="2131" y="5212"/>
                      <a:pt x="2235" y="5457"/>
                      <a:pt x="2324" y="5264"/>
                    </a:cubicBezTo>
                    <a:lnTo>
                      <a:pt x="2398" y="5056"/>
                    </a:lnTo>
                    <a:cubicBezTo>
                      <a:pt x="2524" y="4937"/>
                      <a:pt x="2665" y="4959"/>
                      <a:pt x="2702" y="4959"/>
                    </a:cubicBezTo>
                    <a:cubicBezTo>
                      <a:pt x="2836" y="4959"/>
                      <a:pt x="2962" y="4945"/>
                      <a:pt x="3036" y="4878"/>
                    </a:cubicBezTo>
                    <a:cubicBezTo>
                      <a:pt x="3170" y="4759"/>
                      <a:pt x="3178" y="4945"/>
                      <a:pt x="3244" y="4945"/>
                    </a:cubicBezTo>
                    <a:cubicBezTo>
                      <a:pt x="3326" y="4945"/>
                      <a:pt x="3333" y="4841"/>
                      <a:pt x="3386" y="4781"/>
                    </a:cubicBezTo>
                    <a:cubicBezTo>
                      <a:pt x="3452" y="4685"/>
                      <a:pt x="3631" y="4729"/>
                      <a:pt x="3653" y="4729"/>
                    </a:cubicBezTo>
                    <a:lnTo>
                      <a:pt x="4098" y="4729"/>
                    </a:lnTo>
                    <a:cubicBezTo>
                      <a:pt x="4269" y="4729"/>
                      <a:pt x="4284" y="4833"/>
                      <a:pt x="4447" y="4833"/>
                    </a:cubicBezTo>
                    <a:cubicBezTo>
                      <a:pt x="4692" y="4833"/>
                      <a:pt x="4670" y="4648"/>
                      <a:pt x="4803" y="4618"/>
                    </a:cubicBezTo>
                    <a:cubicBezTo>
                      <a:pt x="5063" y="4566"/>
                      <a:pt x="4930" y="4350"/>
                      <a:pt x="4930" y="4336"/>
                    </a:cubicBezTo>
                    <a:cubicBezTo>
                      <a:pt x="4930" y="4247"/>
                      <a:pt x="5026" y="4180"/>
                      <a:pt x="4982" y="4069"/>
                    </a:cubicBezTo>
                    <a:cubicBezTo>
                      <a:pt x="4959" y="4002"/>
                      <a:pt x="4722" y="4098"/>
                      <a:pt x="4781" y="3920"/>
                    </a:cubicBezTo>
                    <a:cubicBezTo>
                      <a:pt x="4878" y="3801"/>
                      <a:pt x="5041" y="3764"/>
                      <a:pt x="5063" y="3549"/>
                    </a:cubicBezTo>
                    <a:cubicBezTo>
                      <a:pt x="5093" y="3274"/>
                      <a:pt x="4878" y="3274"/>
                      <a:pt x="4878" y="3163"/>
                    </a:cubicBezTo>
                    <a:cubicBezTo>
                      <a:pt x="4878" y="3051"/>
                      <a:pt x="5019" y="3044"/>
                      <a:pt x="4989" y="2851"/>
                    </a:cubicBezTo>
                    <a:cubicBezTo>
                      <a:pt x="4952" y="2606"/>
                      <a:pt x="5301" y="2777"/>
                      <a:pt x="5353" y="2643"/>
                    </a:cubicBezTo>
                    <a:cubicBezTo>
                      <a:pt x="5405" y="2524"/>
                      <a:pt x="5308" y="2428"/>
                      <a:pt x="5308" y="2339"/>
                    </a:cubicBezTo>
                    <a:cubicBezTo>
                      <a:pt x="5308" y="2257"/>
                      <a:pt x="5382" y="2220"/>
                      <a:pt x="5382" y="2168"/>
                    </a:cubicBezTo>
                    <a:cubicBezTo>
                      <a:pt x="5382" y="2131"/>
                      <a:pt x="5368" y="2042"/>
                      <a:pt x="5345" y="2019"/>
                    </a:cubicBezTo>
                    <a:cubicBezTo>
                      <a:pt x="5397" y="1952"/>
                      <a:pt x="5397" y="1938"/>
                      <a:pt x="5479" y="1938"/>
                    </a:cubicBezTo>
                    <a:cubicBezTo>
                      <a:pt x="5523" y="1938"/>
                      <a:pt x="5620" y="2019"/>
                      <a:pt x="5642" y="1938"/>
                    </a:cubicBezTo>
                    <a:lnTo>
                      <a:pt x="5642" y="1782"/>
                    </a:lnTo>
                    <a:cubicBezTo>
                      <a:pt x="5642" y="1737"/>
                      <a:pt x="5702" y="1685"/>
                      <a:pt x="5724" y="1685"/>
                    </a:cubicBezTo>
                    <a:cubicBezTo>
                      <a:pt x="5835" y="1685"/>
                      <a:pt x="5798" y="1864"/>
                      <a:pt x="5976" y="1871"/>
                    </a:cubicBezTo>
                    <a:cubicBezTo>
                      <a:pt x="6073" y="1878"/>
                      <a:pt x="6184" y="1752"/>
                      <a:pt x="6192" y="1708"/>
                    </a:cubicBezTo>
                    <a:cubicBezTo>
                      <a:pt x="6206" y="1656"/>
                      <a:pt x="6177" y="1544"/>
                      <a:pt x="6177" y="1433"/>
                    </a:cubicBezTo>
                    <a:cubicBezTo>
                      <a:pt x="6177" y="1195"/>
                      <a:pt x="5932" y="1403"/>
                      <a:pt x="5917" y="884"/>
                    </a:cubicBezTo>
                    <a:lnTo>
                      <a:pt x="5902" y="884"/>
                    </a:ln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19" name="Grupo 1"/>
            <p:cNvGrpSpPr>
              <a:grpSpLocks/>
            </p:cNvGrpSpPr>
            <p:nvPr/>
          </p:nvGrpSpPr>
          <p:grpSpPr bwMode="auto">
            <a:xfrm>
              <a:off x="6954634" y="4590068"/>
              <a:ext cx="458776" cy="564472"/>
              <a:chOff x="4775592" y="5538846"/>
              <a:chExt cx="525211" cy="581459"/>
            </a:xfrm>
          </p:grpSpPr>
          <p:sp>
            <p:nvSpPr>
              <p:cNvPr id="220" name="Freeform 179"/>
              <p:cNvSpPr>
                <a:spLocks/>
              </p:cNvSpPr>
              <p:nvPr/>
            </p:nvSpPr>
            <p:spPr bwMode="auto">
              <a:xfrm>
                <a:off x="5082878" y="5732144"/>
                <a:ext cx="217925" cy="156831"/>
              </a:xfrm>
              <a:custGeom>
                <a:avLst/>
                <a:gdLst>
                  <a:gd name="T0" fmla="*/ 390075 w 1561"/>
                  <a:gd name="T1" fmla="*/ 1751877 h 1131"/>
                  <a:gd name="T2" fmla="*/ 468146 w 1561"/>
                  <a:gd name="T3" fmla="*/ 1713443 h 1131"/>
                  <a:gd name="T4" fmla="*/ 643701 w 1561"/>
                  <a:gd name="T5" fmla="*/ 1617149 h 1131"/>
                  <a:gd name="T6" fmla="*/ 799703 w 1561"/>
                  <a:gd name="T7" fmla="*/ 1540142 h 1131"/>
                  <a:gd name="T8" fmla="*/ 897187 w 1561"/>
                  <a:gd name="T9" fmla="*/ 1540142 h 1131"/>
                  <a:gd name="T10" fmla="*/ 975258 w 1561"/>
                  <a:gd name="T11" fmla="*/ 1501708 h 1131"/>
                  <a:gd name="T12" fmla="*/ 1092295 w 1561"/>
                  <a:gd name="T13" fmla="*/ 1463135 h 1131"/>
                  <a:gd name="T14" fmla="*/ 1228884 w 1561"/>
                  <a:gd name="T15" fmla="*/ 1405414 h 1131"/>
                  <a:gd name="T16" fmla="*/ 1326368 w 1561"/>
                  <a:gd name="T17" fmla="*/ 1424701 h 1131"/>
                  <a:gd name="T18" fmla="*/ 1482370 w 1561"/>
                  <a:gd name="T19" fmla="*/ 1463135 h 1131"/>
                  <a:gd name="T20" fmla="*/ 1579993 w 1561"/>
                  <a:gd name="T21" fmla="*/ 1501708 h 1131"/>
                  <a:gd name="T22" fmla="*/ 1579993 w 1561"/>
                  <a:gd name="T23" fmla="*/ 1424701 h 1131"/>
                  <a:gd name="T24" fmla="*/ 1697030 w 1561"/>
                  <a:gd name="T25" fmla="*/ 1405414 h 1131"/>
                  <a:gd name="T26" fmla="*/ 1794514 w 1561"/>
                  <a:gd name="T27" fmla="*/ 1482422 h 1131"/>
                  <a:gd name="T28" fmla="*/ 1970069 w 1561"/>
                  <a:gd name="T29" fmla="*/ 1482422 h 1131"/>
                  <a:gd name="T30" fmla="*/ 2145624 w 1561"/>
                  <a:gd name="T31" fmla="*/ 1482422 h 1131"/>
                  <a:gd name="T32" fmla="*/ 2321178 w 1561"/>
                  <a:gd name="T33" fmla="*/ 1520856 h 1131"/>
                  <a:gd name="T34" fmla="*/ 2379697 w 1561"/>
                  <a:gd name="T35" fmla="*/ 1501708 h 1131"/>
                  <a:gd name="T36" fmla="*/ 2496733 w 1561"/>
                  <a:gd name="T37" fmla="*/ 1482422 h 1131"/>
                  <a:gd name="T38" fmla="*/ 2574664 w 1561"/>
                  <a:gd name="T39" fmla="*/ 1463135 h 1131"/>
                  <a:gd name="T40" fmla="*/ 2574664 w 1561"/>
                  <a:gd name="T41" fmla="*/ 1366841 h 1131"/>
                  <a:gd name="T42" fmla="*/ 2496733 w 1561"/>
                  <a:gd name="T43" fmla="*/ 1289834 h 1131"/>
                  <a:gd name="T44" fmla="*/ 2399110 w 1561"/>
                  <a:gd name="T45" fmla="*/ 1270687 h 1131"/>
                  <a:gd name="T46" fmla="*/ 2301626 w 1561"/>
                  <a:gd name="T47" fmla="*/ 1212827 h 1131"/>
                  <a:gd name="T48" fmla="*/ 2243107 w 1561"/>
                  <a:gd name="T49" fmla="*/ 1135820 h 1131"/>
                  <a:gd name="T50" fmla="*/ 2145624 w 1561"/>
                  <a:gd name="T51" fmla="*/ 1097386 h 1131"/>
                  <a:gd name="T52" fmla="*/ 2087105 w 1561"/>
                  <a:gd name="T53" fmla="*/ 981806 h 1131"/>
                  <a:gd name="T54" fmla="*/ 2048000 w 1561"/>
                  <a:gd name="T55" fmla="*/ 904799 h 1131"/>
                  <a:gd name="T56" fmla="*/ 2009034 w 1561"/>
                  <a:gd name="T57" fmla="*/ 712350 h 1131"/>
                  <a:gd name="T58" fmla="*/ 1950516 w 1561"/>
                  <a:gd name="T59" fmla="*/ 577623 h 1131"/>
                  <a:gd name="T60" fmla="*/ 1814067 w 1561"/>
                  <a:gd name="T61" fmla="*/ 481329 h 1131"/>
                  <a:gd name="T62" fmla="*/ 1638512 w 1561"/>
                  <a:gd name="T63" fmla="*/ 365749 h 1131"/>
                  <a:gd name="T64" fmla="*/ 1599406 w 1561"/>
                  <a:gd name="T65" fmla="*/ 269594 h 1131"/>
                  <a:gd name="T66" fmla="*/ 1560441 w 1561"/>
                  <a:gd name="T67" fmla="*/ 288742 h 1131"/>
                  <a:gd name="T68" fmla="*/ 1521475 w 1561"/>
                  <a:gd name="T69" fmla="*/ 308028 h 1131"/>
                  <a:gd name="T70" fmla="*/ 1404439 w 1561"/>
                  <a:gd name="T71" fmla="*/ 288742 h 1131"/>
                  <a:gd name="T72" fmla="*/ 1248297 w 1561"/>
                  <a:gd name="T73" fmla="*/ 115580 h 1131"/>
                  <a:gd name="T74" fmla="*/ 1033776 w 1561"/>
                  <a:gd name="T75" fmla="*/ 57721 h 1131"/>
                  <a:gd name="T76" fmla="*/ 1053329 w 1561"/>
                  <a:gd name="T77" fmla="*/ 154014 h 1131"/>
                  <a:gd name="T78" fmla="*/ 994811 w 1561"/>
                  <a:gd name="T79" fmla="*/ 327315 h 1131"/>
                  <a:gd name="T80" fmla="*/ 955705 w 1561"/>
                  <a:gd name="T81" fmla="*/ 519763 h 1131"/>
                  <a:gd name="T82" fmla="*/ 780151 w 1561"/>
                  <a:gd name="T83" fmla="*/ 577623 h 1131"/>
                  <a:gd name="T84" fmla="*/ 780151 w 1561"/>
                  <a:gd name="T85" fmla="*/ 558336 h 1131"/>
                  <a:gd name="T86" fmla="*/ 702219 w 1561"/>
                  <a:gd name="T87" fmla="*/ 654630 h 1131"/>
                  <a:gd name="T88" fmla="*/ 643701 w 1561"/>
                  <a:gd name="T89" fmla="*/ 712350 h 1131"/>
                  <a:gd name="T90" fmla="*/ 624148 w 1561"/>
                  <a:gd name="T91" fmla="*/ 808644 h 1131"/>
                  <a:gd name="T92" fmla="*/ 487699 w 1561"/>
                  <a:gd name="T93" fmla="*/ 981806 h 1131"/>
                  <a:gd name="T94" fmla="*/ 292591 w 1561"/>
                  <a:gd name="T95" fmla="*/ 1097386 h 1131"/>
                  <a:gd name="T96" fmla="*/ 117037 w 1561"/>
                  <a:gd name="T97" fmla="*/ 1039665 h 1131"/>
                  <a:gd name="T98" fmla="*/ 38966 w 1561"/>
                  <a:gd name="T99" fmla="*/ 1135820 h 1131"/>
                  <a:gd name="T100" fmla="*/ 0 w 1561"/>
                  <a:gd name="T101" fmla="*/ 1270687 h 1131"/>
                  <a:gd name="T102" fmla="*/ 38966 w 1561"/>
                  <a:gd name="T103" fmla="*/ 1386128 h 1131"/>
                  <a:gd name="T104" fmla="*/ 19553 w 1561"/>
                  <a:gd name="T105" fmla="*/ 1482422 h 1131"/>
                  <a:gd name="T106" fmla="*/ 273039 w 1561"/>
                  <a:gd name="T107" fmla="*/ 1828884 h 1131"/>
                  <a:gd name="T108" fmla="*/ 390075 w 1561"/>
                  <a:gd name="T109" fmla="*/ 1790450 h 113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561" h="1131">
                    <a:moveTo>
                      <a:pt x="237" y="1113"/>
                    </a:moveTo>
                    <a:lnTo>
                      <a:pt x="237" y="1084"/>
                    </a:lnTo>
                    <a:lnTo>
                      <a:pt x="261" y="1067"/>
                    </a:lnTo>
                    <a:lnTo>
                      <a:pt x="289" y="1059"/>
                    </a:lnTo>
                    <a:lnTo>
                      <a:pt x="333" y="1007"/>
                    </a:lnTo>
                    <a:lnTo>
                      <a:pt x="385" y="998"/>
                    </a:lnTo>
                    <a:lnTo>
                      <a:pt x="444" y="955"/>
                    </a:lnTo>
                    <a:lnTo>
                      <a:pt x="484" y="955"/>
                    </a:lnTo>
                    <a:lnTo>
                      <a:pt x="506" y="970"/>
                    </a:lnTo>
                    <a:lnTo>
                      <a:pt x="541" y="958"/>
                    </a:lnTo>
                    <a:lnTo>
                      <a:pt x="566" y="933"/>
                    </a:lnTo>
                    <a:lnTo>
                      <a:pt x="591" y="926"/>
                    </a:lnTo>
                    <a:lnTo>
                      <a:pt x="625" y="910"/>
                    </a:lnTo>
                    <a:lnTo>
                      <a:pt x="667" y="905"/>
                    </a:lnTo>
                    <a:lnTo>
                      <a:pt x="716" y="865"/>
                    </a:lnTo>
                    <a:lnTo>
                      <a:pt x="749" y="868"/>
                    </a:lnTo>
                    <a:lnTo>
                      <a:pt x="766" y="890"/>
                    </a:lnTo>
                    <a:lnTo>
                      <a:pt x="810" y="880"/>
                    </a:lnTo>
                    <a:lnTo>
                      <a:pt x="872" y="912"/>
                    </a:lnTo>
                    <a:lnTo>
                      <a:pt x="900" y="903"/>
                    </a:lnTo>
                    <a:lnTo>
                      <a:pt x="937" y="949"/>
                    </a:lnTo>
                    <a:lnTo>
                      <a:pt x="961" y="932"/>
                    </a:lnTo>
                    <a:lnTo>
                      <a:pt x="939" y="907"/>
                    </a:lnTo>
                    <a:lnTo>
                      <a:pt x="961" y="882"/>
                    </a:lnTo>
                    <a:lnTo>
                      <a:pt x="979" y="860"/>
                    </a:lnTo>
                    <a:lnTo>
                      <a:pt x="1028" y="865"/>
                    </a:lnTo>
                    <a:lnTo>
                      <a:pt x="1070" y="892"/>
                    </a:lnTo>
                    <a:lnTo>
                      <a:pt x="1090" y="919"/>
                    </a:lnTo>
                    <a:lnTo>
                      <a:pt x="1159" y="919"/>
                    </a:lnTo>
                    <a:lnTo>
                      <a:pt x="1191" y="913"/>
                    </a:lnTo>
                    <a:lnTo>
                      <a:pt x="1243" y="915"/>
                    </a:lnTo>
                    <a:lnTo>
                      <a:pt x="1301" y="911"/>
                    </a:lnTo>
                    <a:lnTo>
                      <a:pt x="1358" y="922"/>
                    </a:lnTo>
                    <a:lnTo>
                      <a:pt x="1402" y="946"/>
                    </a:lnTo>
                    <a:lnTo>
                      <a:pt x="1419" y="953"/>
                    </a:lnTo>
                    <a:lnTo>
                      <a:pt x="1440" y="930"/>
                    </a:lnTo>
                    <a:lnTo>
                      <a:pt x="1470" y="936"/>
                    </a:lnTo>
                    <a:lnTo>
                      <a:pt x="1512" y="921"/>
                    </a:lnTo>
                    <a:lnTo>
                      <a:pt x="1531" y="910"/>
                    </a:lnTo>
                    <a:lnTo>
                      <a:pt x="1559" y="901"/>
                    </a:lnTo>
                    <a:lnTo>
                      <a:pt x="1559" y="883"/>
                    </a:lnTo>
                    <a:lnTo>
                      <a:pt x="1561" y="841"/>
                    </a:lnTo>
                    <a:lnTo>
                      <a:pt x="1538" y="819"/>
                    </a:lnTo>
                    <a:lnTo>
                      <a:pt x="1515" y="797"/>
                    </a:lnTo>
                    <a:lnTo>
                      <a:pt x="1470" y="799"/>
                    </a:lnTo>
                    <a:lnTo>
                      <a:pt x="1451" y="786"/>
                    </a:lnTo>
                    <a:lnTo>
                      <a:pt x="1431" y="772"/>
                    </a:lnTo>
                    <a:cubicBezTo>
                      <a:pt x="1427" y="769"/>
                      <a:pt x="1391" y="750"/>
                      <a:pt x="1391" y="750"/>
                    </a:cubicBezTo>
                    <a:lnTo>
                      <a:pt x="1373" y="721"/>
                    </a:lnTo>
                    <a:lnTo>
                      <a:pt x="1358" y="706"/>
                    </a:lnTo>
                    <a:cubicBezTo>
                      <a:pt x="1358" y="706"/>
                      <a:pt x="1329" y="696"/>
                      <a:pt x="1324" y="694"/>
                    </a:cubicBezTo>
                    <a:cubicBezTo>
                      <a:pt x="1318" y="691"/>
                      <a:pt x="1301" y="675"/>
                      <a:pt x="1301" y="675"/>
                    </a:cubicBezTo>
                    <a:cubicBezTo>
                      <a:pt x="1301" y="675"/>
                      <a:pt x="1283" y="646"/>
                      <a:pt x="1282" y="642"/>
                    </a:cubicBezTo>
                    <a:cubicBezTo>
                      <a:pt x="1280" y="638"/>
                      <a:pt x="1262" y="611"/>
                      <a:pt x="1262" y="611"/>
                    </a:cubicBezTo>
                    <a:lnTo>
                      <a:pt x="1248" y="601"/>
                    </a:lnTo>
                    <a:lnTo>
                      <a:pt x="1246" y="565"/>
                    </a:lnTo>
                    <a:lnTo>
                      <a:pt x="1244" y="497"/>
                    </a:lnTo>
                    <a:lnTo>
                      <a:pt x="1213" y="441"/>
                    </a:lnTo>
                    <a:lnTo>
                      <a:pt x="1168" y="382"/>
                    </a:lnTo>
                    <a:lnTo>
                      <a:pt x="1179" y="356"/>
                    </a:lnTo>
                    <a:lnTo>
                      <a:pt x="1166" y="324"/>
                    </a:lnTo>
                    <a:lnTo>
                      <a:pt x="1094" y="295"/>
                    </a:lnTo>
                    <a:lnTo>
                      <a:pt x="1037" y="221"/>
                    </a:lnTo>
                    <a:lnTo>
                      <a:pt x="994" y="221"/>
                    </a:lnTo>
                    <a:lnTo>
                      <a:pt x="999" y="180"/>
                    </a:lnTo>
                    <a:lnTo>
                      <a:pt x="971" y="172"/>
                    </a:lnTo>
                    <a:lnTo>
                      <a:pt x="952" y="197"/>
                    </a:lnTo>
                    <a:lnTo>
                      <a:pt x="950" y="173"/>
                    </a:lnTo>
                    <a:lnTo>
                      <a:pt x="935" y="170"/>
                    </a:lnTo>
                    <a:lnTo>
                      <a:pt x="924" y="187"/>
                    </a:lnTo>
                    <a:lnTo>
                      <a:pt x="881" y="187"/>
                    </a:lnTo>
                    <a:lnTo>
                      <a:pt x="853" y="176"/>
                    </a:lnTo>
                    <a:lnTo>
                      <a:pt x="803" y="141"/>
                    </a:lnTo>
                    <a:lnTo>
                      <a:pt x="753" y="69"/>
                    </a:lnTo>
                    <a:lnTo>
                      <a:pt x="659" y="0"/>
                    </a:lnTo>
                    <a:cubicBezTo>
                      <a:pt x="659" y="0"/>
                      <a:pt x="629" y="21"/>
                      <a:pt x="623" y="31"/>
                    </a:cubicBezTo>
                    <a:cubicBezTo>
                      <a:pt x="617" y="40"/>
                      <a:pt x="623" y="60"/>
                      <a:pt x="623" y="60"/>
                    </a:cubicBezTo>
                    <a:cubicBezTo>
                      <a:pt x="623" y="60"/>
                      <a:pt x="640" y="91"/>
                      <a:pt x="641" y="101"/>
                    </a:cubicBezTo>
                    <a:cubicBezTo>
                      <a:pt x="643" y="110"/>
                      <a:pt x="630" y="168"/>
                      <a:pt x="630" y="168"/>
                    </a:cubicBezTo>
                    <a:cubicBezTo>
                      <a:pt x="630" y="168"/>
                      <a:pt x="612" y="180"/>
                      <a:pt x="605" y="200"/>
                    </a:cubicBezTo>
                    <a:cubicBezTo>
                      <a:pt x="598" y="219"/>
                      <a:pt x="592" y="254"/>
                      <a:pt x="592" y="254"/>
                    </a:cubicBezTo>
                    <a:cubicBezTo>
                      <a:pt x="592" y="254"/>
                      <a:pt x="587" y="313"/>
                      <a:pt x="585" y="327"/>
                    </a:cubicBezTo>
                    <a:cubicBezTo>
                      <a:pt x="584" y="341"/>
                      <a:pt x="546" y="358"/>
                      <a:pt x="546" y="358"/>
                    </a:cubicBezTo>
                    <a:lnTo>
                      <a:pt x="473" y="358"/>
                    </a:lnTo>
                    <a:lnTo>
                      <a:pt x="471" y="329"/>
                    </a:lnTo>
                    <a:lnTo>
                      <a:pt x="472" y="343"/>
                    </a:lnTo>
                    <a:cubicBezTo>
                      <a:pt x="472" y="343"/>
                      <a:pt x="447" y="326"/>
                      <a:pt x="433" y="344"/>
                    </a:cubicBezTo>
                    <a:cubicBezTo>
                      <a:pt x="418" y="361"/>
                      <a:pt x="421" y="399"/>
                      <a:pt x="421" y="399"/>
                    </a:cubicBezTo>
                    <a:lnTo>
                      <a:pt x="397" y="410"/>
                    </a:lnTo>
                    <a:lnTo>
                      <a:pt x="396" y="444"/>
                    </a:lnTo>
                    <a:lnTo>
                      <a:pt x="395" y="472"/>
                    </a:lnTo>
                    <a:lnTo>
                      <a:pt x="375" y="501"/>
                    </a:lnTo>
                    <a:lnTo>
                      <a:pt x="318" y="567"/>
                    </a:lnTo>
                    <a:lnTo>
                      <a:pt x="292" y="609"/>
                    </a:lnTo>
                    <a:lnTo>
                      <a:pt x="223" y="668"/>
                    </a:lnTo>
                    <a:lnTo>
                      <a:pt x="175" y="675"/>
                    </a:lnTo>
                    <a:lnTo>
                      <a:pt x="120" y="649"/>
                    </a:lnTo>
                    <a:lnTo>
                      <a:pt x="67" y="647"/>
                    </a:lnTo>
                    <a:lnTo>
                      <a:pt x="18" y="675"/>
                    </a:lnTo>
                    <a:lnTo>
                      <a:pt x="26" y="702"/>
                    </a:lnTo>
                    <a:lnTo>
                      <a:pt x="26" y="754"/>
                    </a:lnTo>
                    <a:lnTo>
                      <a:pt x="2" y="785"/>
                    </a:lnTo>
                    <a:lnTo>
                      <a:pt x="0" y="833"/>
                    </a:lnTo>
                    <a:lnTo>
                      <a:pt x="21" y="858"/>
                    </a:lnTo>
                    <a:lnTo>
                      <a:pt x="24" y="885"/>
                    </a:lnTo>
                    <a:lnTo>
                      <a:pt x="7" y="911"/>
                    </a:lnTo>
                    <a:lnTo>
                      <a:pt x="30" y="1044"/>
                    </a:lnTo>
                    <a:cubicBezTo>
                      <a:pt x="30" y="1044"/>
                      <a:pt x="149" y="1131"/>
                      <a:pt x="164" y="1131"/>
                    </a:cubicBezTo>
                    <a:cubicBezTo>
                      <a:pt x="180" y="1131"/>
                      <a:pt x="196" y="1115"/>
                      <a:pt x="196" y="1115"/>
                    </a:cubicBezTo>
                    <a:lnTo>
                      <a:pt x="237" y="1113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  <a:ea typeface="ヒラギノ角ゴ Pro W3" pitchFamily="1" charset="-128"/>
                </a:endParaRPr>
              </a:p>
            </p:txBody>
          </p:sp>
          <p:sp>
            <p:nvSpPr>
              <p:cNvPr id="221" name="Freeform 180"/>
              <p:cNvSpPr>
                <a:spLocks/>
              </p:cNvSpPr>
              <p:nvPr/>
            </p:nvSpPr>
            <p:spPr bwMode="auto">
              <a:xfrm>
                <a:off x="4778895" y="5808101"/>
                <a:ext cx="183328" cy="123890"/>
              </a:xfrm>
              <a:custGeom>
                <a:avLst/>
                <a:gdLst>
                  <a:gd name="T0" fmla="*/ 2147483647 w 1308"/>
                  <a:gd name="T1" fmla="*/ 2147483647 h 883"/>
                  <a:gd name="T2" fmla="*/ 2147483647 w 1308"/>
                  <a:gd name="T3" fmla="*/ 2147483647 h 883"/>
                  <a:gd name="T4" fmla="*/ 2147483647 w 1308"/>
                  <a:gd name="T5" fmla="*/ 2147483647 h 883"/>
                  <a:gd name="T6" fmla="*/ 2147483647 w 1308"/>
                  <a:gd name="T7" fmla="*/ 2147483647 h 883"/>
                  <a:gd name="T8" fmla="*/ 2147483647 w 1308"/>
                  <a:gd name="T9" fmla="*/ 2147483647 h 883"/>
                  <a:gd name="T10" fmla="*/ 2147483647 w 1308"/>
                  <a:gd name="T11" fmla="*/ 2147483647 h 883"/>
                  <a:gd name="T12" fmla="*/ 2147483647 w 1308"/>
                  <a:gd name="T13" fmla="*/ 2147483647 h 883"/>
                  <a:gd name="T14" fmla="*/ 2147483647 w 1308"/>
                  <a:gd name="T15" fmla="*/ 2147483647 h 883"/>
                  <a:gd name="T16" fmla="*/ 2147483647 w 1308"/>
                  <a:gd name="T17" fmla="*/ 2147483647 h 883"/>
                  <a:gd name="T18" fmla="*/ 2147483647 w 1308"/>
                  <a:gd name="T19" fmla="*/ 2147483647 h 883"/>
                  <a:gd name="T20" fmla="*/ 2147483647 w 1308"/>
                  <a:gd name="T21" fmla="*/ 2147483647 h 883"/>
                  <a:gd name="T22" fmla="*/ 2147483647 w 1308"/>
                  <a:gd name="T23" fmla="*/ 2147483647 h 883"/>
                  <a:gd name="T24" fmla="*/ 2147483647 w 1308"/>
                  <a:gd name="T25" fmla="*/ 2147483647 h 883"/>
                  <a:gd name="T26" fmla="*/ 2147483647 w 1308"/>
                  <a:gd name="T27" fmla="*/ 2147483647 h 883"/>
                  <a:gd name="T28" fmla="*/ 2147483647 w 1308"/>
                  <a:gd name="T29" fmla="*/ 2147483647 h 883"/>
                  <a:gd name="T30" fmla="*/ 2147483647 w 1308"/>
                  <a:gd name="T31" fmla="*/ 2147483647 h 883"/>
                  <a:gd name="T32" fmla="*/ 2147483647 w 1308"/>
                  <a:gd name="T33" fmla="*/ 2147483647 h 883"/>
                  <a:gd name="T34" fmla="*/ 2147483647 w 1308"/>
                  <a:gd name="T35" fmla="*/ 2147483647 h 883"/>
                  <a:gd name="T36" fmla="*/ 2147483647 w 1308"/>
                  <a:gd name="T37" fmla="*/ 2147483647 h 883"/>
                  <a:gd name="T38" fmla="*/ 2147483647 w 1308"/>
                  <a:gd name="T39" fmla="*/ 2147483647 h 883"/>
                  <a:gd name="T40" fmla="*/ 2147483647 w 1308"/>
                  <a:gd name="T41" fmla="*/ 2147483647 h 883"/>
                  <a:gd name="T42" fmla="*/ 2147483647 w 1308"/>
                  <a:gd name="T43" fmla="*/ 2147483647 h 883"/>
                  <a:gd name="T44" fmla="*/ 2147483647 w 1308"/>
                  <a:gd name="T45" fmla="*/ 2147483647 h 883"/>
                  <a:gd name="T46" fmla="*/ 2147483647 w 1308"/>
                  <a:gd name="T47" fmla="*/ 2147483647 h 883"/>
                  <a:gd name="T48" fmla="*/ 2147483647 w 1308"/>
                  <a:gd name="T49" fmla="*/ 2147483647 h 883"/>
                  <a:gd name="T50" fmla="*/ 2147483647 w 1308"/>
                  <a:gd name="T51" fmla="*/ 2147483647 h 883"/>
                  <a:gd name="T52" fmla="*/ 0 w 1308"/>
                  <a:gd name="T53" fmla="*/ 2147483647 h 883"/>
                  <a:gd name="T54" fmla="*/ 2147483647 w 1308"/>
                  <a:gd name="T55" fmla="*/ 2147483647 h 883"/>
                  <a:gd name="T56" fmla="*/ 2147483647 w 1308"/>
                  <a:gd name="T57" fmla="*/ 2147483647 h 883"/>
                  <a:gd name="T58" fmla="*/ 2147483647 w 1308"/>
                  <a:gd name="T59" fmla="*/ 2147483647 h 883"/>
                  <a:gd name="T60" fmla="*/ 2147483647 w 1308"/>
                  <a:gd name="T61" fmla="*/ 2147483647 h 883"/>
                  <a:gd name="T62" fmla="*/ 2147483647 w 1308"/>
                  <a:gd name="T63" fmla="*/ 2147483647 h 883"/>
                  <a:gd name="T64" fmla="*/ 2147483647 w 1308"/>
                  <a:gd name="T65" fmla="*/ 2147483647 h 883"/>
                  <a:gd name="T66" fmla="*/ 2147483647 w 1308"/>
                  <a:gd name="T67" fmla="*/ 2147483647 h 883"/>
                  <a:gd name="T68" fmla="*/ 2147483647 w 1308"/>
                  <a:gd name="T69" fmla="*/ 2147483647 h 883"/>
                  <a:gd name="T70" fmla="*/ 2147483647 w 1308"/>
                  <a:gd name="T71" fmla="*/ 2147483647 h 883"/>
                  <a:gd name="T72" fmla="*/ 2147483647 w 1308"/>
                  <a:gd name="T73" fmla="*/ 2147483647 h 883"/>
                  <a:gd name="T74" fmla="*/ 2147483647 w 1308"/>
                  <a:gd name="T75" fmla="*/ 2147483647 h 883"/>
                  <a:gd name="T76" fmla="*/ 2147483647 w 1308"/>
                  <a:gd name="T77" fmla="*/ 2147483647 h 883"/>
                  <a:gd name="T78" fmla="*/ 2147483647 w 1308"/>
                  <a:gd name="T79" fmla="*/ 2147483647 h 883"/>
                  <a:gd name="T80" fmla="*/ 2147483647 w 1308"/>
                  <a:gd name="T81" fmla="*/ 2147483647 h 883"/>
                  <a:gd name="T82" fmla="*/ 2147483647 w 1308"/>
                  <a:gd name="T83" fmla="*/ 2147483647 h 883"/>
                  <a:gd name="T84" fmla="*/ 2147483647 w 1308"/>
                  <a:gd name="T85" fmla="*/ 0 h 883"/>
                  <a:gd name="T86" fmla="*/ 2147483647 w 1308"/>
                  <a:gd name="T87" fmla="*/ 2147483647 h 883"/>
                  <a:gd name="T88" fmla="*/ 2147483647 w 1308"/>
                  <a:gd name="T89" fmla="*/ 2147483647 h 883"/>
                  <a:gd name="T90" fmla="*/ 2147483647 w 1308"/>
                  <a:gd name="T91" fmla="*/ 2147483647 h 883"/>
                  <a:gd name="T92" fmla="*/ 2147483647 w 1308"/>
                  <a:gd name="T93" fmla="*/ 2147483647 h 883"/>
                  <a:gd name="T94" fmla="*/ 2147483647 w 1308"/>
                  <a:gd name="T95" fmla="*/ 2147483647 h 883"/>
                  <a:gd name="T96" fmla="*/ 2147483647 w 1308"/>
                  <a:gd name="T97" fmla="*/ 2147483647 h 883"/>
                  <a:gd name="T98" fmla="*/ 2147483647 w 1308"/>
                  <a:gd name="T99" fmla="*/ 2147483647 h 883"/>
                  <a:gd name="T100" fmla="*/ 2147483647 w 1308"/>
                  <a:gd name="T101" fmla="*/ 2147483647 h 88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308" h="883">
                    <a:moveTo>
                      <a:pt x="1227" y="394"/>
                    </a:moveTo>
                    <a:lnTo>
                      <a:pt x="1208" y="409"/>
                    </a:lnTo>
                    <a:lnTo>
                      <a:pt x="1204" y="433"/>
                    </a:lnTo>
                    <a:lnTo>
                      <a:pt x="1172" y="444"/>
                    </a:lnTo>
                    <a:lnTo>
                      <a:pt x="1147" y="436"/>
                    </a:lnTo>
                    <a:lnTo>
                      <a:pt x="1119" y="464"/>
                    </a:lnTo>
                    <a:cubicBezTo>
                      <a:pt x="1119" y="464"/>
                      <a:pt x="1133" y="481"/>
                      <a:pt x="1122" y="493"/>
                    </a:cubicBezTo>
                    <a:cubicBezTo>
                      <a:pt x="1111" y="506"/>
                      <a:pt x="1077" y="492"/>
                      <a:pt x="1073" y="502"/>
                    </a:cubicBezTo>
                    <a:cubicBezTo>
                      <a:pt x="1069" y="511"/>
                      <a:pt x="1083" y="534"/>
                      <a:pt x="1071" y="539"/>
                    </a:cubicBezTo>
                    <a:cubicBezTo>
                      <a:pt x="1060" y="545"/>
                      <a:pt x="1038" y="530"/>
                      <a:pt x="1038" y="530"/>
                    </a:cubicBezTo>
                    <a:lnTo>
                      <a:pt x="1015" y="535"/>
                    </a:lnTo>
                    <a:lnTo>
                      <a:pt x="993" y="565"/>
                    </a:lnTo>
                    <a:lnTo>
                      <a:pt x="1000" y="588"/>
                    </a:lnTo>
                    <a:lnTo>
                      <a:pt x="967" y="586"/>
                    </a:lnTo>
                    <a:lnTo>
                      <a:pt x="950" y="570"/>
                    </a:lnTo>
                    <a:lnTo>
                      <a:pt x="920" y="560"/>
                    </a:lnTo>
                    <a:lnTo>
                      <a:pt x="883" y="573"/>
                    </a:lnTo>
                    <a:lnTo>
                      <a:pt x="859" y="608"/>
                    </a:lnTo>
                    <a:lnTo>
                      <a:pt x="863" y="632"/>
                    </a:lnTo>
                    <a:lnTo>
                      <a:pt x="897" y="644"/>
                    </a:lnTo>
                    <a:lnTo>
                      <a:pt x="884" y="667"/>
                    </a:lnTo>
                    <a:lnTo>
                      <a:pt x="789" y="675"/>
                    </a:lnTo>
                    <a:lnTo>
                      <a:pt x="740" y="633"/>
                    </a:lnTo>
                    <a:lnTo>
                      <a:pt x="664" y="630"/>
                    </a:lnTo>
                    <a:lnTo>
                      <a:pt x="627" y="569"/>
                    </a:lnTo>
                    <a:lnTo>
                      <a:pt x="588" y="567"/>
                    </a:lnTo>
                    <a:lnTo>
                      <a:pt x="536" y="621"/>
                    </a:lnTo>
                    <a:lnTo>
                      <a:pt x="501" y="623"/>
                    </a:lnTo>
                    <a:lnTo>
                      <a:pt x="467" y="605"/>
                    </a:lnTo>
                    <a:lnTo>
                      <a:pt x="432" y="615"/>
                    </a:lnTo>
                    <a:lnTo>
                      <a:pt x="399" y="600"/>
                    </a:lnTo>
                    <a:lnTo>
                      <a:pt x="353" y="601"/>
                    </a:lnTo>
                    <a:lnTo>
                      <a:pt x="313" y="623"/>
                    </a:lnTo>
                    <a:lnTo>
                      <a:pt x="311" y="657"/>
                    </a:lnTo>
                    <a:lnTo>
                      <a:pt x="289" y="680"/>
                    </a:lnTo>
                    <a:lnTo>
                      <a:pt x="240" y="687"/>
                    </a:lnTo>
                    <a:lnTo>
                      <a:pt x="233" y="721"/>
                    </a:lnTo>
                    <a:lnTo>
                      <a:pt x="253" y="740"/>
                    </a:lnTo>
                    <a:lnTo>
                      <a:pt x="262" y="761"/>
                    </a:lnTo>
                    <a:cubicBezTo>
                      <a:pt x="262" y="761"/>
                      <a:pt x="260" y="778"/>
                      <a:pt x="250" y="778"/>
                    </a:cubicBezTo>
                    <a:cubicBezTo>
                      <a:pt x="240" y="778"/>
                      <a:pt x="218" y="768"/>
                      <a:pt x="218" y="768"/>
                    </a:cubicBezTo>
                    <a:lnTo>
                      <a:pt x="180" y="763"/>
                    </a:lnTo>
                    <a:lnTo>
                      <a:pt x="155" y="782"/>
                    </a:lnTo>
                    <a:lnTo>
                      <a:pt x="175" y="801"/>
                    </a:lnTo>
                    <a:lnTo>
                      <a:pt x="169" y="821"/>
                    </a:lnTo>
                    <a:cubicBezTo>
                      <a:pt x="169" y="821"/>
                      <a:pt x="142" y="821"/>
                      <a:pt x="133" y="821"/>
                    </a:cubicBezTo>
                    <a:cubicBezTo>
                      <a:pt x="124" y="820"/>
                      <a:pt x="100" y="828"/>
                      <a:pt x="100" y="828"/>
                    </a:cubicBezTo>
                    <a:lnTo>
                      <a:pt x="75" y="857"/>
                    </a:lnTo>
                    <a:lnTo>
                      <a:pt x="58" y="880"/>
                    </a:lnTo>
                    <a:cubicBezTo>
                      <a:pt x="58" y="880"/>
                      <a:pt x="28" y="883"/>
                      <a:pt x="21" y="873"/>
                    </a:cubicBezTo>
                    <a:cubicBezTo>
                      <a:pt x="14" y="862"/>
                      <a:pt x="10" y="843"/>
                      <a:pt x="10" y="843"/>
                    </a:cubicBezTo>
                    <a:lnTo>
                      <a:pt x="28" y="815"/>
                    </a:lnTo>
                    <a:lnTo>
                      <a:pt x="26" y="780"/>
                    </a:lnTo>
                    <a:cubicBezTo>
                      <a:pt x="26" y="780"/>
                      <a:pt x="0" y="749"/>
                      <a:pt x="0" y="735"/>
                    </a:cubicBezTo>
                    <a:cubicBezTo>
                      <a:pt x="0" y="721"/>
                      <a:pt x="0" y="691"/>
                      <a:pt x="0" y="691"/>
                    </a:cubicBezTo>
                    <a:lnTo>
                      <a:pt x="26" y="674"/>
                    </a:lnTo>
                    <a:lnTo>
                      <a:pt x="66" y="674"/>
                    </a:lnTo>
                    <a:cubicBezTo>
                      <a:pt x="66" y="674"/>
                      <a:pt x="96" y="665"/>
                      <a:pt x="112" y="654"/>
                    </a:cubicBezTo>
                    <a:cubicBezTo>
                      <a:pt x="128" y="644"/>
                      <a:pt x="154" y="626"/>
                      <a:pt x="159" y="602"/>
                    </a:cubicBezTo>
                    <a:cubicBezTo>
                      <a:pt x="164" y="578"/>
                      <a:pt x="173" y="520"/>
                      <a:pt x="173" y="520"/>
                    </a:cubicBezTo>
                    <a:lnTo>
                      <a:pt x="183" y="473"/>
                    </a:lnTo>
                    <a:lnTo>
                      <a:pt x="173" y="396"/>
                    </a:lnTo>
                    <a:lnTo>
                      <a:pt x="145" y="317"/>
                    </a:lnTo>
                    <a:lnTo>
                      <a:pt x="138" y="277"/>
                    </a:lnTo>
                    <a:lnTo>
                      <a:pt x="147" y="254"/>
                    </a:lnTo>
                    <a:lnTo>
                      <a:pt x="147" y="209"/>
                    </a:lnTo>
                    <a:lnTo>
                      <a:pt x="114" y="125"/>
                    </a:lnTo>
                    <a:lnTo>
                      <a:pt x="149" y="112"/>
                    </a:lnTo>
                    <a:lnTo>
                      <a:pt x="197" y="130"/>
                    </a:lnTo>
                    <a:lnTo>
                      <a:pt x="232" y="160"/>
                    </a:lnTo>
                    <a:lnTo>
                      <a:pt x="251" y="184"/>
                    </a:lnTo>
                    <a:lnTo>
                      <a:pt x="267" y="208"/>
                    </a:lnTo>
                    <a:lnTo>
                      <a:pt x="325" y="218"/>
                    </a:lnTo>
                    <a:cubicBezTo>
                      <a:pt x="325" y="218"/>
                      <a:pt x="336" y="205"/>
                      <a:pt x="365" y="202"/>
                    </a:cubicBezTo>
                    <a:cubicBezTo>
                      <a:pt x="394" y="200"/>
                      <a:pt x="391" y="226"/>
                      <a:pt x="391" y="226"/>
                    </a:cubicBezTo>
                    <a:lnTo>
                      <a:pt x="426" y="218"/>
                    </a:lnTo>
                    <a:lnTo>
                      <a:pt x="450" y="181"/>
                    </a:lnTo>
                    <a:lnTo>
                      <a:pt x="501" y="170"/>
                    </a:lnTo>
                    <a:lnTo>
                      <a:pt x="567" y="152"/>
                    </a:lnTo>
                    <a:lnTo>
                      <a:pt x="602" y="114"/>
                    </a:lnTo>
                    <a:cubicBezTo>
                      <a:pt x="602" y="114"/>
                      <a:pt x="636" y="83"/>
                      <a:pt x="668" y="72"/>
                    </a:cubicBezTo>
                    <a:cubicBezTo>
                      <a:pt x="700" y="61"/>
                      <a:pt x="735" y="83"/>
                      <a:pt x="735" y="83"/>
                    </a:cubicBezTo>
                    <a:lnTo>
                      <a:pt x="798" y="80"/>
                    </a:lnTo>
                    <a:lnTo>
                      <a:pt x="844" y="43"/>
                    </a:lnTo>
                    <a:lnTo>
                      <a:pt x="891" y="35"/>
                    </a:lnTo>
                    <a:cubicBezTo>
                      <a:pt x="891" y="35"/>
                      <a:pt x="926" y="11"/>
                      <a:pt x="955" y="5"/>
                    </a:cubicBezTo>
                    <a:cubicBezTo>
                      <a:pt x="984" y="0"/>
                      <a:pt x="1008" y="35"/>
                      <a:pt x="1008" y="35"/>
                    </a:cubicBezTo>
                    <a:lnTo>
                      <a:pt x="1067" y="27"/>
                    </a:lnTo>
                    <a:lnTo>
                      <a:pt x="1104" y="67"/>
                    </a:lnTo>
                    <a:lnTo>
                      <a:pt x="1155" y="72"/>
                    </a:lnTo>
                    <a:lnTo>
                      <a:pt x="1176" y="51"/>
                    </a:lnTo>
                    <a:lnTo>
                      <a:pt x="1210" y="53"/>
                    </a:lnTo>
                    <a:cubicBezTo>
                      <a:pt x="1210" y="53"/>
                      <a:pt x="1232" y="93"/>
                      <a:pt x="1248" y="109"/>
                    </a:cubicBezTo>
                    <a:cubicBezTo>
                      <a:pt x="1264" y="125"/>
                      <a:pt x="1300" y="121"/>
                      <a:pt x="1300" y="121"/>
                    </a:cubicBezTo>
                    <a:lnTo>
                      <a:pt x="1308" y="157"/>
                    </a:lnTo>
                    <a:lnTo>
                      <a:pt x="1290" y="188"/>
                    </a:lnTo>
                    <a:lnTo>
                      <a:pt x="1273" y="216"/>
                    </a:lnTo>
                    <a:lnTo>
                      <a:pt x="1276" y="257"/>
                    </a:lnTo>
                    <a:lnTo>
                      <a:pt x="1261" y="289"/>
                    </a:lnTo>
                    <a:cubicBezTo>
                      <a:pt x="1261" y="289"/>
                      <a:pt x="1243" y="305"/>
                      <a:pt x="1243" y="314"/>
                    </a:cubicBezTo>
                    <a:cubicBezTo>
                      <a:pt x="1243" y="322"/>
                      <a:pt x="1251" y="338"/>
                      <a:pt x="1251" y="350"/>
                    </a:cubicBezTo>
                    <a:cubicBezTo>
                      <a:pt x="1251" y="363"/>
                      <a:pt x="1244" y="378"/>
                      <a:pt x="1244" y="378"/>
                    </a:cubicBezTo>
                    <a:lnTo>
                      <a:pt x="1227" y="394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181"/>
              <p:cNvSpPr>
                <a:spLocks/>
              </p:cNvSpPr>
              <p:nvPr/>
            </p:nvSpPr>
            <p:spPr bwMode="auto">
              <a:xfrm>
                <a:off x="4820186" y="5538846"/>
                <a:ext cx="199845" cy="117283"/>
              </a:xfrm>
              <a:custGeom>
                <a:avLst/>
                <a:gdLst>
                  <a:gd name="T0" fmla="*/ 2147483647 w 1428"/>
                  <a:gd name="T1" fmla="*/ 2147483647 h 837"/>
                  <a:gd name="T2" fmla="*/ 2147483647 w 1428"/>
                  <a:gd name="T3" fmla="*/ 2147483647 h 837"/>
                  <a:gd name="T4" fmla="*/ 2147483647 w 1428"/>
                  <a:gd name="T5" fmla="*/ 2147483647 h 837"/>
                  <a:gd name="T6" fmla="*/ 2147483647 w 1428"/>
                  <a:gd name="T7" fmla="*/ 2147483647 h 837"/>
                  <a:gd name="T8" fmla="*/ 2147483647 w 1428"/>
                  <a:gd name="T9" fmla="*/ 2147483647 h 837"/>
                  <a:gd name="T10" fmla="*/ 2147483647 w 1428"/>
                  <a:gd name="T11" fmla="*/ 2147483647 h 837"/>
                  <a:gd name="T12" fmla="*/ 2147483647 w 1428"/>
                  <a:gd name="T13" fmla="*/ 2147483647 h 837"/>
                  <a:gd name="T14" fmla="*/ 2147483647 w 1428"/>
                  <a:gd name="T15" fmla="*/ 2147483647 h 837"/>
                  <a:gd name="T16" fmla="*/ 2147483647 w 1428"/>
                  <a:gd name="T17" fmla="*/ 2147483647 h 837"/>
                  <a:gd name="T18" fmla="*/ 2147483647 w 1428"/>
                  <a:gd name="T19" fmla="*/ 2147483647 h 837"/>
                  <a:gd name="T20" fmla="*/ 2147483647 w 1428"/>
                  <a:gd name="T21" fmla="*/ 2147483647 h 837"/>
                  <a:gd name="T22" fmla="*/ 2147483647 w 1428"/>
                  <a:gd name="T23" fmla="*/ 2147483647 h 837"/>
                  <a:gd name="T24" fmla="*/ 2147483647 w 1428"/>
                  <a:gd name="T25" fmla="*/ 2147483647 h 837"/>
                  <a:gd name="T26" fmla="*/ 2147483647 w 1428"/>
                  <a:gd name="T27" fmla="*/ 2147483647 h 837"/>
                  <a:gd name="T28" fmla="*/ 2147483647 w 1428"/>
                  <a:gd name="T29" fmla="*/ 2147483647 h 837"/>
                  <a:gd name="T30" fmla="*/ 2147483647 w 1428"/>
                  <a:gd name="T31" fmla="*/ 2147483647 h 837"/>
                  <a:gd name="T32" fmla="*/ 2147483647 w 1428"/>
                  <a:gd name="T33" fmla="*/ 2147483647 h 837"/>
                  <a:gd name="T34" fmla="*/ 2147483647 w 1428"/>
                  <a:gd name="T35" fmla="*/ 2147483647 h 837"/>
                  <a:gd name="T36" fmla="*/ 2147483647 w 1428"/>
                  <a:gd name="T37" fmla="*/ 2147483647 h 837"/>
                  <a:gd name="T38" fmla="*/ 2147483647 w 1428"/>
                  <a:gd name="T39" fmla="*/ 2147483647 h 837"/>
                  <a:gd name="T40" fmla="*/ 2147483647 w 1428"/>
                  <a:gd name="T41" fmla="*/ 2147483647 h 837"/>
                  <a:gd name="T42" fmla="*/ 2147483647 w 1428"/>
                  <a:gd name="T43" fmla="*/ 2147483647 h 837"/>
                  <a:gd name="T44" fmla="*/ 2147483647 w 1428"/>
                  <a:gd name="T45" fmla="*/ 2147483647 h 837"/>
                  <a:gd name="T46" fmla="*/ 2147483647 w 1428"/>
                  <a:gd name="T47" fmla="*/ 2147483647 h 837"/>
                  <a:gd name="T48" fmla="*/ 2147483647 w 1428"/>
                  <a:gd name="T49" fmla="*/ 2147483647 h 837"/>
                  <a:gd name="T50" fmla="*/ 2147483647 w 1428"/>
                  <a:gd name="T51" fmla="*/ 2147483647 h 837"/>
                  <a:gd name="T52" fmla="*/ 2147483647 w 1428"/>
                  <a:gd name="T53" fmla="*/ 2147483647 h 837"/>
                  <a:gd name="T54" fmla="*/ 2147483647 w 1428"/>
                  <a:gd name="T55" fmla="*/ 2147483647 h 837"/>
                  <a:gd name="T56" fmla="*/ 2147483647 w 1428"/>
                  <a:gd name="T57" fmla="*/ 2147483647 h 837"/>
                  <a:gd name="T58" fmla="*/ 2147483647 w 1428"/>
                  <a:gd name="T59" fmla="*/ 0 h 837"/>
                  <a:gd name="T60" fmla="*/ 2147483647 w 1428"/>
                  <a:gd name="T61" fmla="*/ 2147483647 h 837"/>
                  <a:gd name="T62" fmla="*/ 2147483647 w 1428"/>
                  <a:gd name="T63" fmla="*/ 2147483647 h 837"/>
                  <a:gd name="T64" fmla="*/ 2147483647 w 1428"/>
                  <a:gd name="T65" fmla="*/ 2147483647 h 837"/>
                  <a:gd name="T66" fmla="*/ 2147483647 w 1428"/>
                  <a:gd name="T67" fmla="*/ 2147483647 h 837"/>
                  <a:gd name="T68" fmla="*/ 2147483647 w 1428"/>
                  <a:gd name="T69" fmla="*/ 2147483647 h 837"/>
                  <a:gd name="T70" fmla="*/ 2147483647 w 1428"/>
                  <a:gd name="T71" fmla="*/ 2147483647 h 837"/>
                  <a:gd name="T72" fmla="*/ 2147483647 w 1428"/>
                  <a:gd name="T73" fmla="*/ 2147483647 h 837"/>
                  <a:gd name="T74" fmla="*/ 2147483647 w 1428"/>
                  <a:gd name="T75" fmla="*/ 2147483647 h 837"/>
                  <a:gd name="T76" fmla="*/ 2147483647 w 1428"/>
                  <a:gd name="T77" fmla="*/ 2147483647 h 837"/>
                  <a:gd name="T78" fmla="*/ 2147483647 w 1428"/>
                  <a:gd name="T79" fmla="*/ 2147483647 h 837"/>
                  <a:gd name="T80" fmla="*/ 2147483647 w 1428"/>
                  <a:gd name="T81" fmla="*/ 2147483647 h 837"/>
                  <a:gd name="T82" fmla="*/ 2147483647 w 1428"/>
                  <a:gd name="T83" fmla="*/ 2147483647 h 83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428" h="837">
                    <a:moveTo>
                      <a:pt x="67" y="555"/>
                    </a:moveTo>
                    <a:lnTo>
                      <a:pt x="126" y="560"/>
                    </a:lnTo>
                    <a:lnTo>
                      <a:pt x="162" y="590"/>
                    </a:lnTo>
                    <a:lnTo>
                      <a:pt x="225" y="659"/>
                    </a:lnTo>
                    <a:lnTo>
                      <a:pt x="258" y="643"/>
                    </a:lnTo>
                    <a:lnTo>
                      <a:pt x="305" y="654"/>
                    </a:lnTo>
                    <a:lnTo>
                      <a:pt x="305" y="686"/>
                    </a:lnTo>
                    <a:lnTo>
                      <a:pt x="340" y="686"/>
                    </a:lnTo>
                    <a:lnTo>
                      <a:pt x="376" y="719"/>
                    </a:lnTo>
                    <a:lnTo>
                      <a:pt x="445" y="736"/>
                    </a:lnTo>
                    <a:lnTo>
                      <a:pt x="516" y="783"/>
                    </a:lnTo>
                    <a:lnTo>
                      <a:pt x="576" y="826"/>
                    </a:lnTo>
                    <a:lnTo>
                      <a:pt x="626" y="837"/>
                    </a:lnTo>
                    <a:lnTo>
                      <a:pt x="664" y="810"/>
                    </a:lnTo>
                    <a:lnTo>
                      <a:pt x="700" y="818"/>
                    </a:lnTo>
                    <a:lnTo>
                      <a:pt x="717" y="808"/>
                    </a:lnTo>
                    <a:lnTo>
                      <a:pt x="776" y="814"/>
                    </a:lnTo>
                    <a:lnTo>
                      <a:pt x="804" y="824"/>
                    </a:lnTo>
                    <a:lnTo>
                      <a:pt x="869" y="817"/>
                    </a:lnTo>
                    <a:lnTo>
                      <a:pt x="929" y="775"/>
                    </a:lnTo>
                    <a:lnTo>
                      <a:pt x="967" y="762"/>
                    </a:lnTo>
                    <a:lnTo>
                      <a:pt x="1012" y="751"/>
                    </a:lnTo>
                    <a:lnTo>
                      <a:pt x="1058" y="726"/>
                    </a:lnTo>
                    <a:lnTo>
                      <a:pt x="1086" y="690"/>
                    </a:lnTo>
                    <a:lnTo>
                      <a:pt x="1157" y="691"/>
                    </a:lnTo>
                    <a:lnTo>
                      <a:pt x="1199" y="724"/>
                    </a:lnTo>
                    <a:lnTo>
                      <a:pt x="1226" y="733"/>
                    </a:lnTo>
                    <a:lnTo>
                      <a:pt x="1299" y="734"/>
                    </a:lnTo>
                    <a:lnTo>
                      <a:pt x="1315" y="766"/>
                    </a:lnTo>
                    <a:lnTo>
                      <a:pt x="1350" y="808"/>
                    </a:lnTo>
                    <a:lnTo>
                      <a:pt x="1394" y="834"/>
                    </a:lnTo>
                    <a:lnTo>
                      <a:pt x="1396" y="818"/>
                    </a:lnTo>
                    <a:lnTo>
                      <a:pt x="1404" y="794"/>
                    </a:lnTo>
                    <a:lnTo>
                      <a:pt x="1402" y="768"/>
                    </a:lnTo>
                    <a:lnTo>
                      <a:pt x="1385" y="742"/>
                    </a:lnTo>
                    <a:lnTo>
                      <a:pt x="1393" y="707"/>
                    </a:lnTo>
                    <a:lnTo>
                      <a:pt x="1428" y="677"/>
                    </a:lnTo>
                    <a:lnTo>
                      <a:pt x="1428" y="633"/>
                    </a:lnTo>
                    <a:lnTo>
                      <a:pt x="1406" y="600"/>
                    </a:lnTo>
                    <a:lnTo>
                      <a:pt x="1343" y="583"/>
                    </a:lnTo>
                    <a:lnTo>
                      <a:pt x="1332" y="527"/>
                    </a:lnTo>
                    <a:lnTo>
                      <a:pt x="1287" y="485"/>
                    </a:lnTo>
                    <a:lnTo>
                      <a:pt x="1239" y="427"/>
                    </a:lnTo>
                    <a:lnTo>
                      <a:pt x="1182" y="387"/>
                    </a:lnTo>
                    <a:lnTo>
                      <a:pt x="1180" y="359"/>
                    </a:lnTo>
                    <a:lnTo>
                      <a:pt x="1111" y="346"/>
                    </a:lnTo>
                    <a:lnTo>
                      <a:pt x="1111" y="296"/>
                    </a:lnTo>
                    <a:lnTo>
                      <a:pt x="1089" y="283"/>
                    </a:lnTo>
                    <a:lnTo>
                      <a:pt x="1045" y="261"/>
                    </a:lnTo>
                    <a:lnTo>
                      <a:pt x="985" y="192"/>
                    </a:lnTo>
                    <a:lnTo>
                      <a:pt x="958" y="192"/>
                    </a:lnTo>
                    <a:lnTo>
                      <a:pt x="930" y="155"/>
                    </a:lnTo>
                    <a:lnTo>
                      <a:pt x="915" y="122"/>
                    </a:lnTo>
                    <a:lnTo>
                      <a:pt x="867" y="85"/>
                    </a:lnTo>
                    <a:lnTo>
                      <a:pt x="828" y="81"/>
                    </a:lnTo>
                    <a:lnTo>
                      <a:pt x="817" y="46"/>
                    </a:lnTo>
                    <a:lnTo>
                      <a:pt x="785" y="7"/>
                    </a:lnTo>
                    <a:lnTo>
                      <a:pt x="748" y="18"/>
                    </a:lnTo>
                    <a:lnTo>
                      <a:pt x="702" y="18"/>
                    </a:lnTo>
                    <a:lnTo>
                      <a:pt x="678" y="0"/>
                    </a:lnTo>
                    <a:lnTo>
                      <a:pt x="645" y="18"/>
                    </a:lnTo>
                    <a:lnTo>
                      <a:pt x="613" y="33"/>
                    </a:lnTo>
                    <a:lnTo>
                      <a:pt x="552" y="50"/>
                    </a:lnTo>
                    <a:cubicBezTo>
                      <a:pt x="552" y="50"/>
                      <a:pt x="565" y="107"/>
                      <a:pt x="534" y="146"/>
                    </a:cubicBezTo>
                    <a:cubicBezTo>
                      <a:pt x="504" y="185"/>
                      <a:pt x="458" y="172"/>
                      <a:pt x="458" y="172"/>
                    </a:cubicBezTo>
                    <a:lnTo>
                      <a:pt x="439" y="157"/>
                    </a:lnTo>
                    <a:lnTo>
                      <a:pt x="400" y="153"/>
                    </a:lnTo>
                    <a:lnTo>
                      <a:pt x="387" y="172"/>
                    </a:lnTo>
                    <a:lnTo>
                      <a:pt x="341" y="174"/>
                    </a:lnTo>
                    <a:lnTo>
                      <a:pt x="330" y="148"/>
                    </a:lnTo>
                    <a:lnTo>
                      <a:pt x="293" y="142"/>
                    </a:lnTo>
                    <a:lnTo>
                      <a:pt x="280" y="166"/>
                    </a:lnTo>
                    <a:lnTo>
                      <a:pt x="254" y="166"/>
                    </a:lnTo>
                    <a:lnTo>
                      <a:pt x="256" y="129"/>
                    </a:lnTo>
                    <a:cubicBezTo>
                      <a:pt x="256" y="129"/>
                      <a:pt x="252" y="107"/>
                      <a:pt x="245" y="96"/>
                    </a:cubicBezTo>
                    <a:cubicBezTo>
                      <a:pt x="239" y="85"/>
                      <a:pt x="197" y="81"/>
                      <a:pt x="197" y="81"/>
                    </a:cubicBezTo>
                    <a:lnTo>
                      <a:pt x="189" y="187"/>
                    </a:lnTo>
                    <a:lnTo>
                      <a:pt x="132" y="255"/>
                    </a:lnTo>
                    <a:lnTo>
                      <a:pt x="39" y="318"/>
                    </a:lnTo>
                    <a:lnTo>
                      <a:pt x="8" y="348"/>
                    </a:lnTo>
                    <a:lnTo>
                      <a:pt x="0" y="420"/>
                    </a:lnTo>
                    <a:lnTo>
                      <a:pt x="17" y="461"/>
                    </a:lnTo>
                    <a:lnTo>
                      <a:pt x="56" y="507"/>
                    </a:lnTo>
                    <a:lnTo>
                      <a:pt x="67" y="555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182"/>
              <p:cNvSpPr>
                <a:spLocks/>
              </p:cNvSpPr>
              <p:nvPr/>
            </p:nvSpPr>
            <p:spPr bwMode="auto">
              <a:xfrm>
                <a:off x="4998559" y="5629699"/>
                <a:ext cx="176722" cy="151972"/>
              </a:xfrm>
              <a:custGeom>
                <a:avLst/>
                <a:gdLst>
                  <a:gd name="T0" fmla="*/ 2147483647 w 1260"/>
                  <a:gd name="T1" fmla="*/ 2147483647 h 1087"/>
                  <a:gd name="T2" fmla="*/ 2147483647 w 1260"/>
                  <a:gd name="T3" fmla="*/ 2147483647 h 1087"/>
                  <a:gd name="T4" fmla="*/ 0 w 1260"/>
                  <a:gd name="T5" fmla="*/ 2147483647 h 1087"/>
                  <a:gd name="T6" fmla="*/ 2147483647 w 1260"/>
                  <a:gd name="T7" fmla="*/ 2147483647 h 1087"/>
                  <a:gd name="T8" fmla="*/ 2147483647 w 1260"/>
                  <a:gd name="T9" fmla="*/ 2147483647 h 1087"/>
                  <a:gd name="T10" fmla="*/ 2147483647 w 1260"/>
                  <a:gd name="T11" fmla="*/ 2147483647 h 1087"/>
                  <a:gd name="T12" fmla="*/ 2147483647 w 1260"/>
                  <a:gd name="T13" fmla="*/ 2147483647 h 1087"/>
                  <a:gd name="T14" fmla="*/ 2147483647 w 1260"/>
                  <a:gd name="T15" fmla="*/ 2147483647 h 1087"/>
                  <a:gd name="T16" fmla="*/ 2147483647 w 1260"/>
                  <a:gd name="T17" fmla="*/ 2147483647 h 1087"/>
                  <a:gd name="T18" fmla="*/ 2147483647 w 1260"/>
                  <a:gd name="T19" fmla="*/ 2147483647 h 1087"/>
                  <a:gd name="T20" fmla="*/ 2147483647 w 1260"/>
                  <a:gd name="T21" fmla="*/ 2147483647 h 1087"/>
                  <a:gd name="T22" fmla="*/ 2147483647 w 1260"/>
                  <a:gd name="T23" fmla="*/ 2147483647 h 1087"/>
                  <a:gd name="T24" fmla="*/ 2147483647 w 1260"/>
                  <a:gd name="T25" fmla="*/ 2147483647 h 1087"/>
                  <a:gd name="T26" fmla="*/ 2147483647 w 1260"/>
                  <a:gd name="T27" fmla="*/ 2147483647 h 1087"/>
                  <a:gd name="T28" fmla="*/ 2147483647 w 1260"/>
                  <a:gd name="T29" fmla="*/ 2147483647 h 1087"/>
                  <a:gd name="T30" fmla="*/ 2147483647 w 1260"/>
                  <a:gd name="T31" fmla="*/ 2147483647 h 1087"/>
                  <a:gd name="T32" fmla="*/ 2147483647 w 1260"/>
                  <a:gd name="T33" fmla="*/ 2147483647 h 1087"/>
                  <a:gd name="T34" fmla="*/ 2147483647 w 1260"/>
                  <a:gd name="T35" fmla="*/ 2147483647 h 1087"/>
                  <a:gd name="T36" fmla="*/ 2147483647 w 1260"/>
                  <a:gd name="T37" fmla="*/ 2147483647 h 1087"/>
                  <a:gd name="T38" fmla="*/ 2147483647 w 1260"/>
                  <a:gd name="T39" fmla="*/ 2147483647 h 1087"/>
                  <a:gd name="T40" fmla="*/ 2147483647 w 1260"/>
                  <a:gd name="T41" fmla="*/ 2147483647 h 1087"/>
                  <a:gd name="T42" fmla="*/ 2147483647 w 1260"/>
                  <a:gd name="T43" fmla="*/ 2147483647 h 1087"/>
                  <a:gd name="T44" fmla="*/ 2147483647 w 1260"/>
                  <a:gd name="T45" fmla="*/ 2147483647 h 1087"/>
                  <a:gd name="T46" fmla="*/ 2147483647 w 1260"/>
                  <a:gd name="T47" fmla="*/ 2147483647 h 1087"/>
                  <a:gd name="T48" fmla="*/ 2147483647 w 1260"/>
                  <a:gd name="T49" fmla="*/ 2147483647 h 1087"/>
                  <a:gd name="T50" fmla="*/ 2147483647 w 1260"/>
                  <a:gd name="T51" fmla="*/ 2147483647 h 1087"/>
                  <a:gd name="T52" fmla="*/ 2147483647 w 1260"/>
                  <a:gd name="T53" fmla="*/ 2147483647 h 1087"/>
                  <a:gd name="T54" fmla="*/ 2147483647 w 1260"/>
                  <a:gd name="T55" fmla="*/ 2147483647 h 1087"/>
                  <a:gd name="T56" fmla="*/ 2147483647 w 1260"/>
                  <a:gd name="T57" fmla="*/ 2147483647 h 1087"/>
                  <a:gd name="T58" fmla="*/ 2147483647 w 1260"/>
                  <a:gd name="T59" fmla="*/ 2147483647 h 1087"/>
                  <a:gd name="T60" fmla="*/ 2147483647 w 1260"/>
                  <a:gd name="T61" fmla="*/ 2147483647 h 1087"/>
                  <a:gd name="T62" fmla="*/ 2147483647 w 1260"/>
                  <a:gd name="T63" fmla="*/ 2147483647 h 1087"/>
                  <a:gd name="T64" fmla="*/ 2147483647 w 1260"/>
                  <a:gd name="T65" fmla="*/ 2147483647 h 1087"/>
                  <a:gd name="T66" fmla="*/ 2147483647 w 1260"/>
                  <a:gd name="T67" fmla="*/ 2147483647 h 1087"/>
                  <a:gd name="T68" fmla="*/ 2147483647 w 1260"/>
                  <a:gd name="T69" fmla="*/ 2147483647 h 1087"/>
                  <a:gd name="T70" fmla="*/ 2147483647 w 1260"/>
                  <a:gd name="T71" fmla="*/ 2147483647 h 1087"/>
                  <a:gd name="T72" fmla="*/ 2147483647 w 1260"/>
                  <a:gd name="T73" fmla="*/ 2147483647 h 1087"/>
                  <a:gd name="T74" fmla="*/ 2147483647 w 1260"/>
                  <a:gd name="T75" fmla="*/ 2147483647 h 1087"/>
                  <a:gd name="T76" fmla="*/ 2147483647 w 1260"/>
                  <a:gd name="T77" fmla="*/ 2147483647 h 1087"/>
                  <a:gd name="T78" fmla="*/ 2147483647 w 1260"/>
                  <a:gd name="T79" fmla="*/ 2147483647 h 1087"/>
                  <a:gd name="T80" fmla="*/ 2147483647 w 1260"/>
                  <a:gd name="T81" fmla="*/ 2147483647 h 1087"/>
                  <a:gd name="T82" fmla="*/ 2147483647 w 1260"/>
                  <a:gd name="T83" fmla="*/ 2147483647 h 1087"/>
                  <a:gd name="T84" fmla="*/ 2147483647 w 1260"/>
                  <a:gd name="T85" fmla="*/ 2147483647 h 1087"/>
                  <a:gd name="T86" fmla="*/ 2147483647 w 1260"/>
                  <a:gd name="T87" fmla="*/ 2147483647 h 1087"/>
                  <a:gd name="T88" fmla="*/ 2147483647 w 1260"/>
                  <a:gd name="T89" fmla="*/ 2147483647 h 108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60" h="1087">
                    <a:moveTo>
                      <a:pt x="125" y="203"/>
                    </a:moveTo>
                    <a:lnTo>
                      <a:pt x="105" y="269"/>
                    </a:lnTo>
                    <a:lnTo>
                      <a:pt x="69" y="314"/>
                    </a:lnTo>
                    <a:lnTo>
                      <a:pt x="32" y="320"/>
                    </a:lnTo>
                    <a:lnTo>
                      <a:pt x="8" y="336"/>
                    </a:lnTo>
                    <a:lnTo>
                      <a:pt x="0" y="364"/>
                    </a:lnTo>
                    <a:lnTo>
                      <a:pt x="21" y="372"/>
                    </a:lnTo>
                    <a:lnTo>
                      <a:pt x="44" y="340"/>
                    </a:lnTo>
                    <a:lnTo>
                      <a:pt x="71" y="341"/>
                    </a:lnTo>
                    <a:lnTo>
                      <a:pt x="86" y="355"/>
                    </a:lnTo>
                    <a:lnTo>
                      <a:pt x="124" y="361"/>
                    </a:lnTo>
                    <a:lnTo>
                      <a:pt x="148" y="407"/>
                    </a:lnTo>
                    <a:lnTo>
                      <a:pt x="187" y="421"/>
                    </a:lnTo>
                    <a:lnTo>
                      <a:pt x="219" y="452"/>
                    </a:lnTo>
                    <a:lnTo>
                      <a:pt x="253" y="459"/>
                    </a:lnTo>
                    <a:lnTo>
                      <a:pt x="286" y="477"/>
                    </a:lnTo>
                    <a:cubicBezTo>
                      <a:pt x="286" y="477"/>
                      <a:pt x="284" y="522"/>
                      <a:pt x="289" y="540"/>
                    </a:cubicBezTo>
                    <a:cubicBezTo>
                      <a:pt x="295" y="558"/>
                      <a:pt x="306" y="567"/>
                      <a:pt x="316" y="578"/>
                    </a:cubicBezTo>
                    <a:cubicBezTo>
                      <a:pt x="326" y="589"/>
                      <a:pt x="370" y="618"/>
                      <a:pt x="370" y="618"/>
                    </a:cubicBezTo>
                    <a:lnTo>
                      <a:pt x="401" y="679"/>
                    </a:lnTo>
                    <a:lnTo>
                      <a:pt x="393" y="730"/>
                    </a:lnTo>
                    <a:lnTo>
                      <a:pt x="391" y="786"/>
                    </a:lnTo>
                    <a:lnTo>
                      <a:pt x="398" y="810"/>
                    </a:lnTo>
                    <a:lnTo>
                      <a:pt x="428" y="818"/>
                    </a:lnTo>
                    <a:lnTo>
                      <a:pt x="440" y="804"/>
                    </a:lnTo>
                    <a:lnTo>
                      <a:pt x="465" y="807"/>
                    </a:lnTo>
                    <a:lnTo>
                      <a:pt x="489" y="827"/>
                    </a:lnTo>
                    <a:lnTo>
                      <a:pt x="548" y="827"/>
                    </a:lnTo>
                    <a:lnTo>
                      <a:pt x="569" y="818"/>
                    </a:lnTo>
                    <a:lnTo>
                      <a:pt x="600" y="824"/>
                    </a:lnTo>
                    <a:lnTo>
                      <a:pt x="635" y="835"/>
                    </a:lnTo>
                    <a:lnTo>
                      <a:pt x="700" y="848"/>
                    </a:lnTo>
                    <a:lnTo>
                      <a:pt x="787" y="851"/>
                    </a:lnTo>
                    <a:lnTo>
                      <a:pt x="830" y="866"/>
                    </a:lnTo>
                    <a:lnTo>
                      <a:pt x="879" y="873"/>
                    </a:lnTo>
                    <a:lnTo>
                      <a:pt x="935" y="888"/>
                    </a:lnTo>
                    <a:cubicBezTo>
                      <a:pt x="935" y="888"/>
                      <a:pt x="979" y="918"/>
                      <a:pt x="986" y="933"/>
                    </a:cubicBezTo>
                    <a:cubicBezTo>
                      <a:pt x="993" y="948"/>
                      <a:pt x="1005" y="965"/>
                      <a:pt x="1005" y="965"/>
                    </a:cubicBezTo>
                    <a:lnTo>
                      <a:pt x="1009" y="1014"/>
                    </a:lnTo>
                    <a:lnTo>
                      <a:pt x="1037" y="1034"/>
                    </a:lnTo>
                    <a:lnTo>
                      <a:pt x="1070" y="1058"/>
                    </a:lnTo>
                    <a:lnTo>
                      <a:pt x="1072" y="1087"/>
                    </a:lnTo>
                    <a:lnTo>
                      <a:pt x="1145" y="1087"/>
                    </a:lnTo>
                    <a:cubicBezTo>
                      <a:pt x="1145" y="1087"/>
                      <a:pt x="1183" y="1070"/>
                      <a:pt x="1184" y="1056"/>
                    </a:cubicBezTo>
                    <a:cubicBezTo>
                      <a:pt x="1186" y="1042"/>
                      <a:pt x="1191" y="983"/>
                      <a:pt x="1191" y="983"/>
                    </a:cubicBezTo>
                    <a:cubicBezTo>
                      <a:pt x="1191" y="983"/>
                      <a:pt x="1197" y="948"/>
                      <a:pt x="1204" y="929"/>
                    </a:cubicBezTo>
                    <a:cubicBezTo>
                      <a:pt x="1211" y="909"/>
                      <a:pt x="1229" y="897"/>
                      <a:pt x="1229" y="897"/>
                    </a:cubicBezTo>
                    <a:cubicBezTo>
                      <a:pt x="1229" y="897"/>
                      <a:pt x="1242" y="839"/>
                      <a:pt x="1240" y="830"/>
                    </a:cubicBezTo>
                    <a:cubicBezTo>
                      <a:pt x="1239" y="820"/>
                      <a:pt x="1222" y="789"/>
                      <a:pt x="1222" y="789"/>
                    </a:cubicBezTo>
                    <a:cubicBezTo>
                      <a:pt x="1222" y="789"/>
                      <a:pt x="1216" y="769"/>
                      <a:pt x="1222" y="760"/>
                    </a:cubicBezTo>
                    <a:cubicBezTo>
                      <a:pt x="1228" y="750"/>
                      <a:pt x="1258" y="729"/>
                      <a:pt x="1258" y="729"/>
                    </a:cubicBezTo>
                    <a:lnTo>
                      <a:pt x="1260" y="650"/>
                    </a:lnTo>
                    <a:lnTo>
                      <a:pt x="1204" y="598"/>
                    </a:lnTo>
                    <a:lnTo>
                      <a:pt x="1156" y="550"/>
                    </a:lnTo>
                    <a:lnTo>
                      <a:pt x="1102" y="546"/>
                    </a:lnTo>
                    <a:lnTo>
                      <a:pt x="1073" y="518"/>
                    </a:lnTo>
                    <a:lnTo>
                      <a:pt x="1045" y="505"/>
                    </a:lnTo>
                    <a:lnTo>
                      <a:pt x="1021" y="522"/>
                    </a:lnTo>
                    <a:lnTo>
                      <a:pt x="989" y="518"/>
                    </a:lnTo>
                    <a:lnTo>
                      <a:pt x="949" y="472"/>
                    </a:lnTo>
                    <a:lnTo>
                      <a:pt x="908" y="461"/>
                    </a:lnTo>
                    <a:lnTo>
                      <a:pt x="871" y="387"/>
                    </a:lnTo>
                    <a:lnTo>
                      <a:pt x="839" y="387"/>
                    </a:lnTo>
                    <a:lnTo>
                      <a:pt x="832" y="416"/>
                    </a:lnTo>
                    <a:lnTo>
                      <a:pt x="791" y="418"/>
                    </a:lnTo>
                    <a:lnTo>
                      <a:pt x="743" y="379"/>
                    </a:lnTo>
                    <a:lnTo>
                      <a:pt x="719" y="385"/>
                    </a:lnTo>
                    <a:lnTo>
                      <a:pt x="695" y="357"/>
                    </a:lnTo>
                    <a:lnTo>
                      <a:pt x="688" y="318"/>
                    </a:lnTo>
                    <a:lnTo>
                      <a:pt x="671" y="279"/>
                    </a:lnTo>
                    <a:lnTo>
                      <a:pt x="619" y="268"/>
                    </a:lnTo>
                    <a:lnTo>
                      <a:pt x="630" y="239"/>
                    </a:lnTo>
                    <a:lnTo>
                      <a:pt x="625" y="207"/>
                    </a:lnTo>
                    <a:lnTo>
                      <a:pt x="599" y="179"/>
                    </a:lnTo>
                    <a:lnTo>
                      <a:pt x="595" y="153"/>
                    </a:lnTo>
                    <a:lnTo>
                      <a:pt x="554" y="150"/>
                    </a:lnTo>
                    <a:lnTo>
                      <a:pt x="565" y="122"/>
                    </a:lnTo>
                    <a:lnTo>
                      <a:pt x="547" y="96"/>
                    </a:lnTo>
                    <a:lnTo>
                      <a:pt x="508" y="83"/>
                    </a:lnTo>
                    <a:lnTo>
                      <a:pt x="471" y="55"/>
                    </a:lnTo>
                    <a:cubicBezTo>
                      <a:pt x="471" y="55"/>
                      <a:pt x="462" y="29"/>
                      <a:pt x="447" y="0"/>
                    </a:cubicBezTo>
                    <a:lnTo>
                      <a:pt x="397" y="11"/>
                    </a:lnTo>
                    <a:lnTo>
                      <a:pt x="384" y="44"/>
                    </a:lnTo>
                    <a:lnTo>
                      <a:pt x="395" y="76"/>
                    </a:lnTo>
                    <a:lnTo>
                      <a:pt x="384" y="96"/>
                    </a:lnTo>
                    <a:lnTo>
                      <a:pt x="341" y="105"/>
                    </a:lnTo>
                    <a:lnTo>
                      <a:pt x="323" y="129"/>
                    </a:lnTo>
                    <a:lnTo>
                      <a:pt x="275" y="174"/>
                    </a:lnTo>
                    <a:lnTo>
                      <a:pt x="221" y="207"/>
                    </a:lnTo>
                    <a:lnTo>
                      <a:pt x="125" y="203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183"/>
              <p:cNvSpPr>
                <a:spLocks/>
              </p:cNvSpPr>
              <p:nvPr/>
            </p:nvSpPr>
            <p:spPr bwMode="auto">
              <a:xfrm>
                <a:off x="4803670" y="5616484"/>
                <a:ext cx="213057" cy="137105"/>
              </a:xfrm>
              <a:custGeom>
                <a:avLst/>
                <a:gdLst>
                  <a:gd name="T0" fmla="*/ 2147483647 w 1511"/>
                  <a:gd name="T1" fmla="*/ 2147483647 h 977"/>
                  <a:gd name="T2" fmla="*/ 2147483647 w 1511"/>
                  <a:gd name="T3" fmla="*/ 2147483647 h 977"/>
                  <a:gd name="T4" fmla="*/ 2147483647 w 1511"/>
                  <a:gd name="T5" fmla="*/ 2147483647 h 977"/>
                  <a:gd name="T6" fmla="*/ 2147483647 w 1511"/>
                  <a:gd name="T7" fmla="*/ 2147483647 h 977"/>
                  <a:gd name="T8" fmla="*/ 2147483647 w 1511"/>
                  <a:gd name="T9" fmla="*/ 2147483647 h 977"/>
                  <a:gd name="T10" fmla="*/ 2147483647 w 1511"/>
                  <a:gd name="T11" fmla="*/ 2147483647 h 977"/>
                  <a:gd name="T12" fmla="*/ 2147483647 w 1511"/>
                  <a:gd name="T13" fmla="*/ 2147483647 h 977"/>
                  <a:gd name="T14" fmla="*/ 2147483647 w 1511"/>
                  <a:gd name="T15" fmla="*/ 2147483647 h 977"/>
                  <a:gd name="T16" fmla="*/ 2147483647 w 1511"/>
                  <a:gd name="T17" fmla="*/ 2147483647 h 977"/>
                  <a:gd name="T18" fmla="*/ 2147483647 w 1511"/>
                  <a:gd name="T19" fmla="*/ 2147483647 h 977"/>
                  <a:gd name="T20" fmla="*/ 2147483647 w 1511"/>
                  <a:gd name="T21" fmla="*/ 2147483647 h 977"/>
                  <a:gd name="T22" fmla="*/ 2147483647 w 1511"/>
                  <a:gd name="T23" fmla="*/ 2147483647 h 977"/>
                  <a:gd name="T24" fmla="*/ 2147483647 w 1511"/>
                  <a:gd name="T25" fmla="*/ 2147483647 h 977"/>
                  <a:gd name="T26" fmla="*/ 2147483647 w 1511"/>
                  <a:gd name="T27" fmla="*/ 2147483647 h 977"/>
                  <a:gd name="T28" fmla="*/ 2147483647 w 1511"/>
                  <a:gd name="T29" fmla="*/ 2147483647 h 977"/>
                  <a:gd name="T30" fmla="*/ 2147483647 w 1511"/>
                  <a:gd name="T31" fmla="*/ 2147483647 h 977"/>
                  <a:gd name="T32" fmla="*/ 2147483647 w 1511"/>
                  <a:gd name="T33" fmla="*/ 2147483647 h 977"/>
                  <a:gd name="T34" fmla="*/ 2147483647 w 1511"/>
                  <a:gd name="T35" fmla="*/ 2147483647 h 977"/>
                  <a:gd name="T36" fmla="*/ 2147483647 w 1511"/>
                  <a:gd name="T37" fmla="*/ 2147483647 h 977"/>
                  <a:gd name="T38" fmla="*/ 2147483647 w 1511"/>
                  <a:gd name="T39" fmla="*/ 2147483647 h 977"/>
                  <a:gd name="T40" fmla="*/ 0 w 1511"/>
                  <a:gd name="T41" fmla="*/ 2147483647 h 977"/>
                  <a:gd name="T42" fmla="*/ 2147483647 w 1511"/>
                  <a:gd name="T43" fmla="*/ 2147483647 h 977"/>
                  <a:gd name="T44" fmla="*/ 2147483647 w 1511"/>
                  <a:gd name="T45" fmla="*/ 2147483647 h 977"/>
                  <a:gd name="T46" fmla="*/ 2147483647 w 1511"/>
                  <a:gd name="T47" fmla="*/ 2147483647 h 977"/>
                  <a:gd name="T48" fmla="*/ 2147483647 w 1511"/>
                  <a:gd name="T49" fmla="*/ 2147483647 h 977"/>
                  <a:gd name="T50" fmla="*/ 2147483647 w 1511"/>
                  <a:gd name="T51" fmla="*/ 2147483647 h 977"/>
                  <a:gd name="T52" fmla="*/ 2147483647 w 1511"/>
                  <a:gd name="T53" fmla="*/ 2147483647 h 977"/>
                  <a:gd name="T54" fmla="*/ 2147483647 w 1511"/>
                  <a:gd name="T55" fmla="*/ 0 h 977"/>
                  <a:gd name="T56" fmla="*/ 2147483647 w 1511"/>
                  <a:gd name="T57" fmla="*/ 2147483647 h 977"/>
                  <a:gd name="T58" fmla="*/ 2147483647 w 1511"/>
                  <a:gd name="T59" fmla="*/ 2147483647 h 977"/>
                  <a:gd name="T60" fmla="*/ 2147483647 w 1511"/>
                  <a:gd name="T61" fmla="*/ 2147483647 h 977"/>
                  <a:gd name="T62" fmla="*/ 2147483647 w 1511"/>
                  <a:gd name="T63" fmla="*/ 2147483647 h 977"/>
                  <a:gd name="T64" fmla="*/ 2147483647 w 1511"/>
                  <a:gd name="T65" fmla="*/ 2147483647 h 977"/>
                  <a:gd name="T66" fmla="*/ 2147483647 w 1511"/>
                  <a:gd name="T67" fmla="*/ 2147483647 h 977"/>
                  <a:gd name="T68" fmla="*/ 2147483647 w 1511"/>
                  <a:gd name="T69" fmla="*/ 2147483647 h 977"/>
                  <a:gd name="T70" fmla="*/ 2147483647 w 1511"/>
                  <a:gd name="T71" fmla="*/ 2147483647 h 977"/>
                  <a:gd name="T72" fmla="*/ 2147483647 w 1511"/>
                  <a:gd name="T73" fmla="*/ 2147483647 h 977"/>
                  <a:gd name="T74" fmla="*/ 2147483647 w 1511"/>
                  <a:gd name="T75" fmla="*/ 2147483647 h 977"/>
                  <a:gd name="T76" fmla="*/ 2147483647 w 1511"/>
                  <a:gd name="T77" fmla="*/ 2147483647 h 977"/>
                  <a:gd name="T78" fmla="*/ 2147483647 w 1511"/>
                  <a:gd name="T79" fmla="*/ 2147483647 h 977"/>
                  <a:gd name="T80" fmla="*/ 2147483647 w 1511"/>
                  <a:gd name="T81" fmla="*/ 2147483647 h 977"/>
                  <a:gd name="T82" fmla="*/ 2147483647 w 1511"/>
                  <a:gd name="T83" fmla="*/ 2147483647 h 977"/>
                  <a:gd name="T84" fmla="*/ 2147483647 w 1511"/>
                  <a:gd name="T85" fmla="*/ 2147483647 h 977"/>
                  <a:gd name="T86" fmla="*/ 2147483647 w 1511"/>
                  <a:gd name="T87" fmla="*/ 2147483647 h 977"/>
                  <a:gd name="T88" fmla="*/ 2147483647 w 1511"/>
                  <a:gd name="T89" fmla="*/ 2147483647 h 977"/>
                  <a:gd name="T90" fmla="*/ 2147483647 w 1511"/>
                  <a:gd name="T91" fmla="*/ 2147483647 h 97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511" h="977">
                    <a:moveTo>
                      <a:pt x="1406" y="465"/>
                    </a:moveTo>
                    <a:lnTo>
                      <a:pt x="1412" y="484"/>
                    </a:lnTo>
                    <a:lnTo>
                      <a:pt x="1401" y="503"/>
                    </a:lnTo>
                    <a:lnTo>
                      <a:pt x="1391" y="545"/>
                    </a:lnTo>
                    <a:lnTo>
                      <a:pt x="1384" y="573"/>
                    </a:lnTo>
                    <a:lnTo>
                      <a:pt x="1360" y="599"/>
                    </a:lnTo>
                    <a:lnTo>
                      <a:pt x="1327" y="605"/>
                    </a:lnTo>
                    <a:cubicBezTo>
                      <a:pt x="1327" y="605"/>
                      <a:pt x="1314" y="631"/>
                      <a:pt x="1311" y="640"/>
                    </a:cubicBezTo>
                    <a:cubicBezTo>
                      <a:pt x="1309" y="648"/>
                      <a:pt x="1274" y="659"/>
                      <a:pt x="1272" y="673"/>
                    </a:cubicBezTo>
                    <a:cubicBezTo>
                      <a:pt x="1271" y="687"/>
                      <a:pt x="1269" y="715"/>
                      <a:pt x="1265" y="726"/>
                    </a:cubicBezTo>
                    <a:cubicBezTo>
                      <a:pt x="1261" y="738"/>
                      <a:pt x="1258" y="752"/>
                      <a:pt x="1260" y="760"/>
                    </a:cubicBezTo>
                    <a:cubicBezTo>
                      <a:pt x="1261" y="768"/>
                      <a:pt x="1278" y="787"/>
                      <a:pt x="1278" y="787"/>
                    </a:cubicBezTo>
                    <a:lnTo>
                      <a:pt x="1285" y="861"/>
                    </a:lnTo>
                    <a:lnTo>
                      <a:pt x="1240" y="861"/>
                    </a:lnTo>
                    <a:lnTo>
                      <a:pt x="1223" y="901"/>
                    </a:lnTo>
                    <a:lnTo>
                      <a:pt x="1204" y="931"/>
                    </a:lnTo>
                    <a:cubicBezTo>
                      <a:pt x="1204" y="931"/>
                      <a:pt x="1197" y="954"/>
                      <a:pt x="1192" y="964"/>
                    </a:cubicBezTo>
                    <a:cubicBezTo>
                      <a:pt x="1188" y="974"/>
                      <a:pt x="1178" y="977"/>
                      <a:pt x="1163" y="970"/>
                    </a:cubicBezTo>
                    <a:cubicBezTo>
                      <a:pt x="1148" y="963"/>
                      <a:pt x="1122" y="961"/>
                      <a:pt x="1114" y="956"/>
                    </a:cubicBezTo>
                    <a:cubicBezTo>
                      <a:pt x="1106" y="950"/>
                      <a:pt x="1086" y="935"/>
                      <a:pt x="1086" y="935"/>
                    </a:cubicBezTo>
                    <a:cubicBezTo>
                      <a:pt x="1086" y="935"/>
                      <a:pt x="1039" y="940"/>
                      <a:pt x="1016" y="925"/>
                    </a:cubicBezTo>
                    <a:cubicBezTo>
                      <a:pt x="994" y="910"/>
                      <a:pt x="964" y="896"/>
                      <a:pt x="948" y="893"/>
                    </a:cubicBezTo>
                    <a:cubicBezTo>
                      <a:pt x="931" y="890"/>
                      <a:pt x="883" y="896"/>
                      <a:pt x="883" y="896"/>
                    </a:cubicBezTo>
                    <a:cubicBezTo>
                      <a:pt x="883" y="896"/>
                      <a:pt x="861" y="912"/>
                      <a:pt x="846" y="910"/>
                    </a:cubicBezTo>
                    <a:cubicBezTo>
                      <a:pt x="830" y="907"/>
                      <a:pt x="819" y="889"/>
                      <a:pt x="805" y="889"/>
                    </a:cubicBezTo>
                    <a:cubicBezTo>
                      <a:pt x="791" y="889"/>
                      <a:pt x="757" y="891"/>
                      <a:pt x="757" y="891"/>
                    </a:cubicBezTo>
                    <a:lnTo>
                      <a:pt x="718" y="896"/>
                    </a:lnTo>
                    <a:cubicBezTo>
                      <a:pt x="718" y="896"/>
                      <a:pt x="661" y="893"/>
                      <a:pt x="646" y="886"/>
                    </a:cubicBezTo>
                    <a:cubicBezTo>
                      <a:pt x="630" y="879"/>
                      <a:pt x="601" y="859"/>
                      <a:pt x="601" y="859"/>
                    </a:cubicBezTo>
                    <a:lnTo>
                      <a:pt x="555" y="834"/>
                    </a:lnTo>
                    <a:lnTo>
                      <a:pt x="507" y="796"/>
                    </a:lnTo>
                    <a:lnTo>
                      <a:pt x="408" y="780"/>
                    </a:lnTo>
                    <a:cubicBezTo>
                      <a:pt x="408" y="780"/>
                      <a:pt x="341" y="725"/>
                      <a:pt x="323" y="719"/>
                    </a:cubicBezTo>
                    <a:cubicBezTo>
                      <a:pt x="304" y="714"/>
                      <a:pt x="289" y="736"/>
                      <a:pt x="264" y="725"/>
                    </a:cubicBezTo>
                    <a:cubicBezTo>
                      <a:pt x="239" y="714"/>
                      <a:pt x="226" y="698"/>
                      <a:pt x="225" y="689"/>
                    </a:cubicBezTo>
                    <a:cubicBezTo>
                      <a:pt x="223" y="679"/>
                      <a:pt x="219" y="638"/>
                      <a:pt x="190" y="634"/>
                    </a:cubicBezTo>
                    <a:cubicBezTo>
                      <a:pt x="160" y="630"/>
                      <a:pt x="121" y="620"/>
                      <a:pt x="111" y="629"/>
                    </a:cubicBezTo>
                    <a:cubicBezTo>
                      <a:pt x="102" y="637"/>
                      <a:pt x="116" y="668"/>
                      <a:pt x="106" y="668"/>
                    </a:cubicBezTo>
                    <a:cubicBezTo>
                      <a:pt x="96" y="668"/>
                      <a:pt x="81" y="647"/>
                      <a:pt x="64" y="648"/>
                    </a:cubicBezTo>
                    <a:cubicBezTo>
                      <a:pt x="55" y="649"/>
                      <a:pt x="36" y="662"/>
                      <a:pt x="19" y="674"/>
                    </a:cubicBezTo>
                    <a:lnTo>
                      <a:pt x="10" y="666"/>
                    </a:lnTo>
                    <a:cubicBezTo>
                      <a:pt x="10" y="666"/>
                      <a:pt x="0" y="657"/>
                      <a:pt x="0" y="632"/>
                    </a:cubicBezTo>
                    <a:cubicBezTo>
                      <a:pt x="0" y="608"/>
                      <a:pt x="19" y="590"/>
                      <a:pt x="19" y="590"/>
                    </a:cubicBezTo>
                    <a:lnTo>
                      <a:pt x="47" y="569"/>
                    </a:lnTo>
                    <a:lnTo>
                      <a:pt x="54" y="496"/>
                    </a:lnTo>
                    <a:lnTo>
                      <a:pt x="105" y="445"/>
                    </a:lnTo>
                    <a:lnTo>
                      <a:pt x="105" y="342"/>
                    </a:lnTo>
                    <a:lnTo>
                      <a:pt x="126" y="293"/>
                    </a:lnTo>
                    <a:lnTo>
                      <a:pt x="131" y="215"/>
                    </a:lnTo>
                    <a:lnTo>
                      <a:pt x="114" y="180"/>
                    </a:lnTo>
                    <a:lnTo>
                      <a:pt x="114" y="146"/>
                    </a:lnTo>
                    <a:lnTo>
                      <a:pt x="156" y="138"/>
                    </a:lnTo>
                    <a:lnTo>
                      <a:pt x="189" y="131"/>
                    </a:lnTo>
                    <a:cubicBezTo>
                      <a:pt x="189" y="131"/>
                      <a:pt x="190" y="90"/>
                      <a:pt x="190" y="66"/>
                    </a:cubicBezTo>
                    <a:cubicBezTo>
                      <a:pt x="190" y="42"/>
                      <a:pt x="184" y="0"/>
                      <a:pt x="184" y="0"/>
                    </a:cubicBezTo>
                    <a:lnTo>
                      <a:pt x="243" y="5"/>
                    </a:lnTo>
                    <a:lnTo>
                      <a:pt x="279" y="35"/>
                    </a:lnTo>
                    <a:lnTo>
                      <a:pt x="342" y="104"/>
                    </a:lnTo>
                    <a:lnTo>
                      <a:pt x="375" y="88"/>
                    </a:lnTo>
                    <a:lnTo>
                      <a:pt x="422" y="99"/>
                    </a:lnTo>
                    <a:lnTo>
                      <a:pt x="422" y="131"/>
                    </a:lnTo>
                    <a:lnTo>
                      <a:pt x="457" y="131"/>
                    </a:lnTo>
                    <a:lnTo>
                      <a:pt x="493" y="164"/>
                    </a:lnTo>
                    <a:lnTo>
                      <a:pt x="562" y="181"/>
                    </a:lnTo>
                    <a:lnTo>
                      <a:pt x="633" y="228"/>
                    </a:lnTo>
                    <a:lnTo>
                      <a:pt x="693" y="271"/>
                    </a:lnTo>
                    <a:lnTo>
                      <a:pt x="743" y="282"/>
                    </a:lnTo>
                    <a:lnTo>
                      <a:pt x="781" y="255"/>
                    </a:lnTo>
                    <a:lnTo>
                      <a:pt x="817" y="263"/>
                    </a:lnTo>
                    <a:lnTo>
                      <a:pt x="834" y="253"/>
                    </a:lnTo>
                    <a:lnTo>
                      <a:pt x="893" y="259"/>
                    </a:lnTo>
                    <a:lnTo>
                      <a:pt x="921" y="269"/>
                    </a:lnTo>
                    <a:lnTo>
                      <a:pt x="986" y="262"/>
                    </a:lnTo>
                    <a:lnTo>
                      <a:pt x="1046" y="220"/>
                    </a:lnTo>
                    <a:lnTo>
                      <a:pt x="1084" y="207"/>
                    </a:lnTo>
                    <a:lnTo>
                      <a:pt x="1129" y="196"/>
                    </a:lnTo>
                    <a:lnTo>
                      <a:pt x="1175" y="171"/>
                    </a:lnTo>
                    <a:lnTo>
                      <a:pt x="1203" y="135"/>
                    </a:lnTo>
                    <a:lnTo>
                      <a:pt x="1274" y="136"/>
                    </a:lnTo>
                    <a:lnTo>
                      <a:pt x="1316" y="169"/>
                    </a:lnTo>
                    <a:lnTo>
                      <a:pt x="1343" y="178"/>
                    </a:lnTo>
                    <a:lnTo>
                      <a:pt x="1416" y="179"/>
                    </a:lnTo>
                    <a:lnTo>
                      <a:pt x="1432" y="211"/>
                    </a:lnTo>
                    <a:lnTo>
                      <a:pt x="1467" y="253"/>
                    </a:lnTo>
                    <a:lnTo>
                      <a:pt x="1511" y="279"/>
                    </a:lnTo>
                    <a:lnTo>
                      <a:pt x="1510" y="296"/>
                    </a:lnTo>
                    <a:lnTo>
                      <a:pt x="1490" y="362"/>
                    </a:lnTo>
                    <a:lnTo>
                      <a:pt x="1454" y="407"/>
                    </a:lnTo>
                    <a:lnTo>
                      <a:pt x="1417" y="413"/>
                    </a:lnTo>
                    <a:lnTo>
                      <a:pt x="1393" y="429"/>
                    </a:lnTo>
                    <a:lnTo>
                      <a:pt x="1385" y="457"/>
                    </a:lnTo>
                    <a:lnTo>
                      <a:pt x="1406" y="465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184"/>
              <p:cNvSpPr>
                <a:spLocks/>
              </p:cNvSpPr>
              <p:nvPr/>
            </p:nvSpPr>
            <p:spPr bwMode="auto">
              <a:xfrm>
                <a:off x="4950663" y="5677603"/>
                <a:ext cx="198193" cy="189965"/>
              </a:xfrm>
              <a:custGeom>
                <a:avLst/>
                <a:gdLst>
                  <a:gd name="T0" fmla="*/ 2147483647 w 1416"/>
                  <a:gd name="T1" fmla="*/ 2147483647 h 1360"/>
                  <a:gd name="T2" fmla="*/ 2147483647 w 1416"/>
                  <a:gd name="T3" fmla="*/ 2147483647 h 1360"/>
                  <a:gd name="T4" fmla="*/ 2147483647 w 1416"/>
                  <a:gd name="T5" fmla="*/ 2147483647 h 1360"/>
                  <a:gd name="T6" fmla="*/ 2147483647 w 1416"/>
                  <a:gd name="T7" fmla="*/ 2147483647 h 1360"/>
                  <a:gd name="T8" fmla="*/ 2147483647 w 1416"/>
                  <a:gd name="T9" fmla="*/ 2147483647 h 1360"/>
                  <a:gd name="T10" fmla="*/ 2147483647 w 1416"/>
                  <a:gd name="T11" fmla="*/ 2147483647 h 1360"/>
                  <a:gd name="T12" fmla="*/ 2147483647 w 1416"/>
                  <a:gd name="T13" fmla="*/ 2147483647 h 1360"/>
                  <a:gd name="T14" fmla="*/ 2147483647 w 1416"/>
                  <a:gd name="T15" fmla="*/ 2147483647 h 1360"/>
                  <a:gd name="T16" fmla="*/ 2147483647 w 1416"/>
                  <a:gd name="T17" fmla="*/ 2147483647 h 1360"/>
                  <a:gd name="T18" fmla="*/ 2147483647 w 1416"/>
                  <a:gd name="T19" fmla="*/ 2147483647 h 1360"/>
                  <a:gd name="T20" fmla="*/ 2147483647 w 1416"/>
                  <a:gd name="T21" fmla="*/ 2147483647 h 1360"/>
                  <a:gd name="T22" fmla="*/ 2147483647 w 1416"/>
                  <a:gd name="T23" fmla="*/ 2147483647 h 1360"/>
                  <a:gd name="T24" fmla="*/ 2147483647 w 1416"/>
                  <a:gd name="T25" fmla="*/ 2147483647 h 1360"/>
                  <a:gd name="T26" fmla="*/ 2147483647 w 1416"/>
                  <a:gd name="T27" fmla="*/ 2147483647 h 1360"/>
                  <a:gd name="T28" fmla="*/ 2147483647 w 1416"/>
                  <a:gd name="T29" fmla="*/ 2147483647 h 1360"/>
                  <a:gd name="T30" fmla="*/ 2147483647 w 1416"/>
                  <a:gd name="T31" fmla="*/ 2147483647 h 1360"/>
                  <a:gd name="T32" fmla="*/ 2147483647 w 1416"/>
                  <a:gd name="T33" fmla="*/ 2147483647 h 1360"/>
                  <a:gd name="T34" fmla="*/ 2147483647 w 1416"/>
                  <a:gd name="T35" fmla="*/ 2147483647 h 1360"/>
                  <a:gd name="T36" fmla="*/ 2147483647 w 1416"/>
                  <a:gd name="T37" fmla="*/ 2147483647 h 1360"/>
                  <a:gd name="T38" fmla="*/ 0 w 1416"/>
                  <a:gd name="T39" fmla="*/ 2147483647 h 1360"/>
                  <a:gd name="T40" fmla="*/ 2147483647 w 1416"/>
                  <a:gd name="T41" fmla="*/ 2147483647 h 1360"/>
                  <a:gd name="T42" fmla="*/ 2147483647 w 1416"/>
                  <a:gd name="T43" fmla="*/ 2147483647 h 1360"/>
                  <a:gd name="T44" fmla="*/ 2147483647 w 1416"/>
                  <a:gd name="T45" fmla="*/ 2147483647 h 1360"/>
                  <a:gd name="T46" fmla="*/ 2147483647 w 1416"/>
                  <a:gd name="T47" fmla="*/ 2147483647 h 1360"/>
                  <a:gd name="T48" fmla="*/ 2147483647 w 1416"/>
                  <a:gd name="T49" fmla="*/ 2147483647 h 1360"/>
                  <a:gd name="T50" fmla="*/ 2147483647 w 1416"/>
                  <a:gd name="T51" fmla="*/ 2147483647 h 1360"/>
                  <a:gd name="T52" fmla="*/ 2147483647 w 1416"/>
                  <a:gd name="T53" fmla="*/ 2147483647 h 1360"/>
                  <a:gd name="T54" fmla="*/ 2147483647 w 1416"/>
                  <a:gd name="T55" fmla="*/ 2147483647 h 1360"/>
                  <a:gd name="T56" fmla="*/ 2147483647 w 1416"/>
                  <a:gd name="T57" fmla="*/ 2147483647 h 1360"/>
                  <a:gd name="T58" fmla="*/ 2147483647 w 1416"/>
                  <a:gd name="T59" fmla="*/ 2147483647 h 1360"/>
                  <a:gd name="T60" fmla="*/ 2147483647 w 1416"/>
                  <a:gd name="T61" fmla="*/ 2147483647 h 1360"/>
                  <a:gd name="T62" fmla="*/ 2147483647 w 1416"/>
                  <a:gd name="T63" fmla="*/ 2147483647 h 1360"/>
                  <a:gd name="T64" fmla="*/ 2147483647 w 1416"/>
                  <a:gd name="T65" fmla="*/ 2147483647 h 1360"/>
                  <a:gd name="T66" fmla="*/ 2147483647 w 1416"/>
                  <a:gd name="T67" fmla="*/ 2147483647 h 1360"/>
                  <a:gd name="T68" fmla="*/ 2147483647 w 1416"/>
                  <a:gd name="T69" fmla="*/ 2147483647 h 1360"/>
                  <a:gd name="T70" fmla="*/ 2147483647 w 1416"/>
                  <a:gd name="T71" fmla="*/ 2147483647 h 1360"/>
                  <a:gd name="T72" fmla="*/ 2147483647 w 1416"/>
                  <a:gd name="T73" fmla="*/ 2147483647 h 1360"/>
                  <a:gd name="T74" fmla="*/ 2147483647 w 1416"/>
                  <a:gd name="T75" fmla="*/ 2147483647 h 1360"/>
                  <a:gd name="T76" fmla="*/ 2147483647 w 1416"/>
                  <a:gd name="T77" fmla="*/ 0 h 1360"/>
                  <a:gd name="T78" fmla="*/ 2147483647 w 1416"/>
                  <a:gd name="T79" fmla="*/ 2147483647 h 1360"/>
                  <a:gd name="T80" fmla="*/ 2147483647 w 1416"/>
                  <a:gd name="T81" fmla="*/ 2147483647 h 1360"/>
                  <a:gd name="T82" fmla="*/ 2147483647 w 1416"/>
                  <a:gd name="T83" fmla="*/ 2147483647 h 1360"/>
                  <a:gd name="T84" fmla="*/ 2147483647 w 1416"/>
                  <a:gd name="T85" fmla="*/ 2147483647 h 1360"/>
                  <a:gd name="T86" fmla="*/ 2147483647 w 1416"/>
                  <a:gd name="T87" fmla="*/ 2147483647 h 1360"/>
                  <a:gd name="T88" fmla="*/ 2147483647 w 1416"/>
                  <a:gd name="T89" fmla="*/ 2147483647 h 1360"/>
                  <a:gd name="T90" fmla="*/ 2147483647 w 1416"/>
                  <a:gd name="T91" fmla="*/ 2147483647 h 1360"/>
                  <a:gd name="T92" fmla="*/ 2147483647 w 1416"/>
                  <a:gd name="T93" fmla="*/ 2147483647 h 1360"/>
                  <a:gd name="T94" fmla="*/ 2147483647 w 1416"/>
                  <a:gd name="T95" fmla="*/ 2147483647 h 1360"/>
                  <a:gd name="T96" fmla="*/ 2147483647 w 1416"/>
                  <a:gd name="T97" fmla="*/ 2147483647 h 1360"/>
                  <a:gd name="T98" fmla="*/ 2147483647 w 1416"/>
                  <a:gd name="T99" fmla="*/ 2147483647 h 1360"/>
                  <a:gd name="T100" fmla="*/ 2147483647 w 1416"/>
                  <a:gd name="T101" fmla="*/ 2147483647 h 1360"/>
                  <a:gd name="T102" fmla="*/ 2147483647 w 1416"/>
                  <a:gd name="T103" fmla="*/ 2147483647 h 1360"/>
                  <a:gd name="T104" fmla="*/ 2147483647 w 1416"/>
                  <a:gd name="T105" fmla="*/ 2147483647 h 1360"/>
                  <a:gd name="T106" fmla="*/ 2147483647 w 1416"/>
                  <a:gd name="T107" fmla="*/ 2147483647 h 1360"/>
                  <a:gd name="T108" fmla="*/ 2147483647 w 1416"/>
                  <a:gd name="T109" fmla="*/ 2147483647 h 136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416" h="1360">
                    <a:moveTo>
                      <a:pt x="1416" y="732"/>
                    </a:moveTo>
                    <a:cubicBezTo>
                      <a:pt x="1416" y="732"/>
                      <a:pt x="1391" y="715"/>
                      <a:pt x="1377" y="733"/>
                    </a:cubicBezTo>
                    <a:cubicBezTo>
                      <a:pt x="1362" y="750"/>
                      <a:pt x="1365" y="788"/>
                      <a:pt x="1365" y="788"/>
                    </a:cubicBezTo>
                    <a:lnTo>
                      <a:pt x="1341" y="799"/>
                    </a:lnTo>
                    <a:lnTo>
                      <a:pt x="1340" y="833"/>
                    </a:lnTo>
                    <a:lnTo>
                      <a:pt x="1339" y="861"/>
                    </a:lnTo>
                    <a:lnTo>
                      <a:pt x="1319" y="890"/>
                    </a:lnTo>
                    <a:lnTo>
                      <a:pt x="1262" y="956"/>
                    </a:lnTo>
                    <a:lnTo>
                      <a:pt x="1236" y="998"/>
                    </a:lnTo>
                    <a:lnTo>
                      <a:pt x="1167" y="1057"/>
                    </a:lnTo>
                    <a:lnTo>
                      <a:pt x="1119" y="1064"/>
                    </a:lnTo>
                    <a:lnTo>
                      <a:pt x="1064" y="1038"/>
                    </a:lnTo>
                    <a:lnTo>
                      <a:pt x="1011" y="1036"/>
                    </a:lnTo>
                    <a:lnTo>
                      <a:pt x="962" y="1064"/>
                    </a:lnTo>
                    <a:lnTo>
                      <a:pt x="918" y="1048"/>
                    </a:lnTo>
                    <a:cubicBezTo>
                      <a:pt x="918" y="1048"/>
                      <a:pt x="890" y="1012"/>
                      <a:pt x="870" y="1012"/>
                    </a:cubicBezTo>
                    <a:cubicBezTo>
                      <a:pt x="850" y="1012"/>
                      <a:pt x="825" y="1054"/>
                      <a:pt x="825" y="1054"/>
                    </a:cubicBezTo>
                    <a:cubicBezTo>
                      <a:pt x="825" y="1054"/>
                      <a:pt x="797" y="1073"/>
                      <a:pt x="781" y="1076"/>
                    </a:cubicBezTo>
                    <a:cubicBezTo>
                      <a:pt x="764" y="1079"/>
                      <a:pt x="719" y="1085"/>
                      <a:pt x="719" y="1085"/>
                    </a:cubicBezTo>
                    <a:lnTo>
                      <a:pt x="664" y="1091"/>
                    </a:lnTo>
                    <a:lnTo>
                      <a:pt x="625" y="1118"/>
                    </a:lnTo>
                    <a:lnTo>
                      <a:pt x="621" y="1148"/>
                    </a:lnTo>
                    <a:lnTo>
                      <a:pt x="579" y="1174"/>
                    </a:lnTo>
                    <a:lnTo>
                      <a:pt x="532" y="1180"/>
                    </a:lnTo>
                    <a:lnTo>
                      <a:pt x="490" y="1197"/>
                    </a:lnTo>
                    <a:lnTo>
                      <a:pt x="443" y="1220"/>
                    </a:lnTo>
                    <a:lnTo>
                      <a:pt x="411" y="1239"/>
                    </a:lnTo>
                    <a:lnTo>
                      <a:pt x="369" y="1236"/>
                    </a:lnTo>
                    <a:lnTo>
                      <a:pt x="325" y="1264"/>
                    </a:lnTo>
                    <a:lnTo>
                      <a:pt x="319" y="1293"/>
                    </a:lnTo>
                    <a:lnTo>
                      <a:pt x="285" y="1311"/>
                    </a:lnTo>
                    <a:lnTo>
                      <a:pt x="248" y="1322"/>
                    </a:lnTo>
                    <a:lnTo>
                      <a:pt x="203" y="1339"/>
                    </a:lnTo>
                    <a:lnTo>
                      <a:pt x="150" y="1334"/>
                    </a:lnTo>
                    <a:lnTo>
                      <a:pt x="92" y="1334"/>
                    </a:lnTo>
                    <a:lnTo>
                      <a:pt x="73" y="1324"/>
                    </a:lnTo>
                    <a:lnTo>
                      <a:pt x="52" y="1327"/>
                    </a:lnTo>
                    <a:lnTo>
                      <a:pt x="32" y="1357"/>
                    </a:lnTo>
                    <a:lnTo>
                      <a:pt x="7" y="1360"/>
                    </a:lnTo>
                    <a:lnTo>
                      <a:pt x="0" y="1327"/>
                    </a:lnTo>
                    <a:lnTo>
                      <a:pt x="17" y="1311"/>
                    </a:lnTo>
                    <a:cubicBezTo>
                      <a:pt x="17" y="1311"/>
                      <a:pt x="24" y="1296"/>
                      <a:pt x="24" y="1283"/>
                    </a:cubicBezTo>
                    <a:cubicBezTo>
                      <a:pt x="24" y="1271"/>
                      <a:pt x="16" y="1255"/>
                      <a:pt x="16" y="1247"/>
                    </a:cubicBezTo>
                    <a:cubicBezTo>
                      <a:pt x="16" y="1239"/>
                      <a:pt x="34" y="1222"/>
                      <a:pt x="34" y="1222"/>
                    </a:cubicBezTo>
                    <a:lnTo>
                      <a:pt x="49" y="1190"/>
                    </a:lnTo>
                    <a:lnTo>
                      <a:pt x="46" y="1149"/>
                    </a:lnTo>
                    <a:lnTo>
                      <a:pt x="63" y="1121"/>
                    </a:lnTo>
                    <a:lnTo>
                      <a:pt x="81" y="1090"/>
                    </a:lnTo>
                    <a:lnTo>
                      <a:pt x="73" y="1054"/>
                    </a:lnTo>
                    <a:lnTo>
                      <a:pt x="84" y="990"/>
                    </a:lnTo>
                    <a:lnTo>
                      <a:pt x="106" y="934"/>
                    </a:lnTo>
                    <a:lnTo>
                      <a:pt x="132" y="917"/>
                    </a:lnTo>
                    <a:lnTo>
                      <a:pt x="192" y="864"/>
                    </a:lnTo>
                    <a:lnTo>
                      <a:pt x="221" y="819"/>
                    </a:lnTo>
                    <a:lnTo>
                      <a:pt x="252" y="753"/>
                    </a:lnTo>
                    <a:lnTo>
                      <a:pt x="267" y="724"/>
                    </a:lnTo>
                    <a:lnTo>
                      <a:pt x="269" y="654"/>
                    </a:lnTo>
                    <a:lnTo>
                      <a:pt x="294" y="598"/>
                    </a:lnTo>
                    <a:lnTo>
                      <a:pt x="297" y="562"/>
                    </a:lnTo>
                    <a:lnTo>
                      <a:pt x="297" y="500"/>
                    </a:lnTo>
                    <a:lnTo>
                      <a:pt x="276" y="450"/>
                    </a:lnTo>
                    <a:lnTo>
                      <a:pt x="266" y="425"/>
                    </a:lnTo>
                    <a:lnTo>
                      <a:pt x="245" y="427"/>
                    </a:lnTo>
                    <a:lnTo>
                      <a:pt x="238" y="354"/>
                    </a:lnTo>
                    <a:cubicBezTo>
                      <a:pt x="238" y="354"/>
                      <a:pt x="221" y="335"/>
                      <a:pt x="220" y="327"/>
                    </a:cubicBezTo>
                    <a:cubicBezTo>
                      <a:pt x="218" y="319"/>
                      <a:pt x="221" y="305"/>
                      <a:pt x="225" y="293"/>
                    </a:cubicBezTo>
                    <a:cubicBezTo>
                      <a:pt x="229" y="282"/>
                      <a:pt x="231" y="254"/>
                      <a:pt x="232" y="240"/>
                    </a:cubicBezTo>
                    <a:cubicBezTo>
                      <a:pt x="234" y="226"/>
                      <a:pt x="269" y="215"/>
                      <a:pt x="271" y="207"/>
                    </a:cubicBezTo>
                    <a:cubicBezTo>
                      <a:pt x="274" y="198"/>
                      <a:pt x="287" y="172"/>
                      <a:pt x="287" y="172"/>
                    </a:cubicBezTo>
                    <a:lnTo>
                      <a:pt x="320" y="166"/>
                    </a:lnTo>
                    <a:lnTo>
                      <a:pt x="344" y="140"/>
                    </a:lnTo>
                    <a:lnTo>
                      <a:pt x="351" y="112"/>
                    </a:lnTo>
                    <a:lnTo>
                      <a:pt x="361" y="70"/>
                    </a:lnTo>
                    <a:lnTo>
                      <a:pt x="372" y="51"/>
                    </a:lnTo>
                    <a:lnTo>
                      <a:pt x="366" y="32"/>
                    </a:lnTo>
                    <a:lnTo>
                      <a:pt x="389" y="0"/>
                    </a:lnTo>
                    <a:lnTo>
                      <a:pt x="416" y="1"/>
                    </a:lnTo>
                    <a:lnTo>
                      <a:pt x="431" y="15"/>
                    </a:lnTo>
                    <a:lnTo>
                      <a:pt x="469" y="21"/>
                    </a:lnTo>
                    <a:lnTo>
                      <a:pt x="493" y="67"/>
                    </a:lnTo>
                    <a:lnTo>
                      <a:pt x="532" y="81"/>
                    </a:lnTo>
                    <a:lnTo>
                      <a:pt x="564" y="112"/>
                    </a:lnTo>
                    <a:lnTo>
                      <a:pt x="598" y="119"/>
                    </a:lnTo>
                    <a:lnTo>
                      <a:pt x="631" y="137"/>
                    </a:lnTo>
                    <a:cubicBezTo>
                      <a:pt x="631" y="137"/>
                      <a:pt x="629" y="182"/>
                      <a:pt x="634" y="200"/>
                    </a:cubicBezTo>
                    <a:cubicBezTo>
                      <a:pt x="640" y="218"/>
                      <a:pt x="651" y="227"/>
                      <a:pt x="661" y="238"/>
                    </a:cubicBezTo>
                    <a:cubicBezTo>
                      <a:pt x="671" y="249"/>
                      <a:pt x="715" y="278"/>
                      <a:pt x="715" y="278"/>
                    </a:cubicBezTo>
                    <a:lnTo>
                      <a:pt x="746" y="339"/>
                    </a:lnTo>
                    <a:lnTo>
                      <a:pt x="738" y="390"/>
                    </a:lnTo>
                    <a:lnTo>
                      <a:pt x="736" y="446"/>
                    </a:lnTo>
                    <a:lnTo>
                      <a:pt x="743" y="470"/>
                    </a:lnTo>
                    <a:lnTo>
                      <a:pt x="773" y="478"/>
                    </a:lnTo>
                    <a:lnTo>
                      <a:pt x="785" y="464"/>
                    </a:lnTo>
                    <a:lnTo>
                      <a:pt x="810" y="467"/>
                    </a:lnTo>
                    <a:lnTo>
                      <a:pt x="834" y="487"/>
                    </a:lnTo>
                    <a:lnTo>
                      <a:pt x="893" y="487"/>
                    </a:lnTo>
                    <a:lnTo>
                      <a:pt x="914" y="478"/>
                    </a:lnTo>
                    <a:lnTo>
                      <a:pt x="945" y="484"/>
                    </a:lnTo>
                    <a:lnTo>
                      <a:pt x="980" y="495"/>
                    </a:lnTo>
                    <a:lnTo>
                      <a:pt x="1045" y="508"/>
                    </a:lnTo>
                    <a:lnTo>
                      <a:pt x="1132" y="511"/>
                    </a:lnTo>
                    <a:lnTo>
                      <a:pt x="1175" y="526"/>
                    </a:lnTo>
                    <a:lnTo>
                      <a:pt x="1224" y="533"/>
                    </a:lnTo>
                    <a:lnTo>
                      <a:pt x="1280" y="548"/>
                    </a:lnTo>
                    <a:cubicBezTo>
                      <a:pt x="1280" y="548"/>
                      <a:pt x="1324" y="578"/>
                      <a:pt x="1331" y="593"/>
                    </a:cubicBezTo>
                    <a:cubicBezTo>
                      <a:pt x="1338" y="608"/>
                      <a:pt x="1350" y="625"/>
                      <a:pt x="1350" y="625"/>
                    </a:cubicBezTo>
                    <a:lnTo>
                      <a:pt x="1354" y="674"/>
                    </a:lnTo>
                    <a:lnTo>
                      <a:pt x="1382" y="694"/>
                    </a:lnTo>
                    <a:lnTo>
                      <a:pt x="1415" y="718"/>
                    </a:lnTo>
                    <a:lnTo>
                      <a:pt x="1416" y="732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185"/>
              <p:cNvSpPr>
                <a:spLocks/>
              </p:cNvSpPr>
              <p:nvPr/>
            </p:nvSpPr>
            <p:spPr bwMode="auto">
              <a:xfrm>
                <a:off x="4792108" y="5704033"/>
                <a:ext cx="199845" cy="135454"/>
              </a:xfrm>
              <a:custGeom>
                <a:avLst/>
                <a:gdLst>
                  <a:gd name="T0" fmla="*/ 2147483647 w 1423"/>
                  <a:gd name="T1" fmla="*/ 2147483647 h 972"/>
                  <a:gd name="T2" fmla="*/ 2147483647 w 1423"/>
                  <a:gd name="T3" fmla="*/ 2147483647 h 972"/>
                  <a:gd name="T4" fmla="*/ 2147483647 w 1423"/>
                  <a:gd name="T5" fmla="*/ 2147483647 h 972"/>
                  <a:gd name="T6" fmla="*/ 2147483647 w 1423"/>
                  <a:gd name="T7" fmla="*/ 2147483647 h 972"/>
                  <a:gd name="T8" fmla="*/ 2147483647 w 1423"/>
                  <a:gd name="T9" fmla="*/ 2147483647 h 972"/>
                  <a:gd name="T10" fmla="*/ 2147483647 w 1423"/>
                  <a:gd name="T11" fmla="*/ 2147483647 h 972"/>
                  <a:gd name="T12" fmla="*/ 2147483647 w 1423"/>
                  <a:gd name="T13" fmla="*/ 2147483647 h 972"/>
                  <a:gd name="T14" fmla="*/ 2147483647 w 1423"/>
                  <a:gd name="T15" fmla="*/ 2147483647 h 972"/>
                  <a:gd name="T16" fmla="*/ 2147483647 w 1423"/>
                  <a:gd name="T17" fmla="*/ 2147483647 h 972"/>
                  <a:gd name="T18" fmla="*/ 2147483647 w 1423"/>
                  <a:gd name="T19" fmla="*/ 2147483647 h 972"/>
                  <a:gd name="T20" fmla="*/ 2147483647 w 1423"/>
                  <a:gd name="T21" fmla="*/ 2147483647 h 972"/>
                  <a:gd name="T22" fmla="*/ 2147483647 w 1423"/>
                  <a:gd name="T23" fmla="*/ 2147483647 h 972"/>
                  <a:gd name="T24" fmla="*/ 2147483647 w 1423"/>
                  <a:gd name="T25" fmla="*/ 2147483647 h 972"/>
                  <a:gd name="T26" fmla="*/ 2147483647 w 1423"/>
                  <a:gd name="T27" fmla="*/ 2147483647 h 972"/>
                  <a:gd name="T28" fmla="*/ 2147483647 w 1423"/>
                  <a:gd name="T29" fmla="*/ 2147483647 h 972"/>
                  <a:gd name="T30" fmla="*/ 2147483647 w 1423"/>
                  <a:gd name="T31" fmla="*/ 2147483647 h 972"/>
                  <a:gd name="T32" fmla="*/ 2147483647 w 1423"/>
                  <a:gd name="T33" fmla="*/ 2147483647 h 972"/>
                  <a:gd name="T34" fmla="*/ 2147483647 w 1423"/>
                  <a:gd name="T35" fmla="*/ 2147483647 h 972"/>
                  <a:gd name="T36" fmla="*/ 2147483647 w 1423"/>
                  <a:gd name="T37" fmla="*/ 2147483647 h 972"/>
                  <a:gd name="T38" fmla="*/ 2147483647 w 1423"/>
                  <a:gd name="T39" fmla="*/ 2147483647 h 972"/>
                  <a:gd name="T40" fmla="*/ 2147483647 w 1423"/>
                  <a:gd name="T41" fmla="*/ 2147483647 h 972"/>
                  <a:gd name="T42" fmla="*/ 2147483647 w 1423"/>
                  <a:gd name="T43" fmla="*/ 2147483647 h 972"/>
                  <a:gd name="T44" fmla="*/ 2147483647 w 1423"/>
                  <a:gd name="T45" fmla="*/ 2147483647 h 972"/>
                  <a:gd name="T46" fmla="*/ 2147483647 w 1423"/>
                  <a:gd name="T47" fmla="*/ 2147483647 h 972"/>
                  <a:gd name="T48" fmla="*/ 2147483647 w 1423"/>
                  <a:gd name="T49" fmla="*/ 2147483647 h 972"/>
                  <a:gd name="T50" fmla="*/ 2147483647 w 1423"/>
                  <a:gd name="T51" fmla="*/ 2147483647 h 972"/>
                  <a:gd name="T52" fmla="*/ 2147483647 w 1423"/>
                  <a:gd name="T53" fmla="*/ 2147483647 h 972"/>
                  <a:gd name="T54" fmla="*/ 2147483647 w 1423"/>
                  <a:gd name="T55" fmla="*/ 2147483647 h 972"/>
                  <a:gd name="T56" fmla="*/ 2147483647 w 1423"/>
                  <a:gd name="T57" fmla="*/ 2147483647 h 972"/>
                  <a:gd name="T58" fmla="*/ 2147483647 w 1423"/>
                  <a:gd name="T59" fmla="*/ 2147483647 h 972"/>
                  <a:gd name="T60" fmla="*/ 2147483647 w 1423"/>
                  <a:gd name="T61" fmla="*/ 2147483647 h 972"/>
                  <a:gd name="T62" fmla="*/ 2147483647 w 1423"/>
                  <a:gd name="T63" fmla="*/ 2147483647 h 972"/>
                  <a:gd name="T64" fmla="*/ 2147483647 w 1423"/>
                  <a:gd name="T65" fmla="*/ 2147483647 h 972"/>
                  <a:gd name="T66" fmla="*/ 2147483647 w 1423"/>
                  <a:gd name="T67" fmla="*/ 2147483647 h 972"/>
                  <a:gd name="T68" fmla="*/ 2147483647 w 1423"/>
                  <a:gd name="T69" fmla="*/ 2147483647 h 972"/>
                  <a:gd name="T70" fmla="*/ 2147483647 w 1423"/>
                  <a:gd name="T71" fmla="*/ 2147483647 h 972"/>
                  <a:gd name="T72" fmla="*/ 2147483647 w 1423"/>
                  <a:gd name="T73" fmla="*/ 2147483647 h 972"/>
                  <a:gd name="T74" fmla="*/ 2147483647 w 1423"/>
                  <a:gd name="T75" fmla="*/ 2147483647 h 972"/>
                  <a:gd name="T76" fmla="*/ 2147483647 w 1423"/>
                  <a:gd name="T77" fmla="*/ 2147483647 h 972"/>
                  <a:gd name="T78" fmla="*/ 2147483647 w 1423"/>
                  <a:gd name="T79" fmla="*/ 2147483647 h 972"/>
                  <a:gd name="T80" fmla="*/ 2147483647 w 1423"/>
                  <a:gd name="T81" fmla="*/ 2147483647 h 972"/>
                  <a:gd name="T82" fmla="*/ 2147483647 w 1423"/>
                  <a:gd name="T83" fmla="*/ 2147483647 h 972"/>
                  <a:gd name="T84" fmla="*/ 2147483647 w 1423"/>
                  <a:gd name="T85" fmla="*/ 2147483647 h 972"/>
                  <a:gd name="T86" fmla="*/ 2147483647 w 1423"/>
                  <a:gd name="T87" fmla="*/ 2147483647 h 97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423" h="972">
                    <a:moveTo>
                      <a:pt x="105" y="54"/>
                    </a:moveTo>
                    <a:lnTo>
                      <a:pt x="105" y="54"/>
                    </a:lnTo>
                    <a:cubicBezTo>
                      <a:pt x="122" y="42"/>
                      <a:pt x="141" y="29"/>
                      <a:pt x="150" y="28"/>
                    </a:cubicBezTo>
                    <a:cubicBezTo>
                      <a:pt x="167" y="27"/>
                      <a:pt x="182" y="48"/>
                      <a:pt x="192" y="48"/>
                    </a:cubicBezTo>
                    <a:cubicBezTo>
                      <a:pt x="202" y="48"/>
                      <a:pt x="188" y="17"/>
                      <a:pt x="197" y="9"/>
                    </a:cubicBezTo>
                    <a:cubicBezTo>
                      <a:pt x="207" y="0"/>
                      <a:pt x="246" y="10"/>
                      <a:pt x="276" y="14"/>
                    </a:cubicBezTo>
                    <a:cubicBezTo>
                      <a:pt x="305" y="18"/>
                      <a:pt x="309" y="59"/>
                      <a:pt x="311" y="69"/>
                    </a:cubicBezTo>
                    <a:cubicBezTo>
                      <a:pt x="312" y="78"/>
                      <a:pt x="325" y="94"/>
                      <a:pt x="350" y="105"/>
                    </a:cubicBezTo>
                    <a:cubicBezTo>
                      <a:pt x="375" y="116"/>
                      <a:pt x="390" y="94"/>
                      <a:pt x="409" y="99"/>
                    </a:cubicBezTo>
                    <a:cubicBezTo>
                      <a:pt x="427" y="105"/>
                      <a:pt x="494" y="160"/>
                      <a:pt x="494" y="160"/>
                    </a:cubicBezTo>
                    <a:lnTo>
                      <a:pt x="593" y="176"/>
                    </a:lnTo>
                    <a:lnTo>
                      <a:pt x="641" y="214"/>
                    </a:lnTo>
                    <a:lnTo>
                      <a:pt x="687" y="239"/>
                    </a:lnTo>
                    <a:cubicBezTo>
                      <a:pt x="687" y="239"/>
                      <a:pt x="716" y="259"/>
                      <a:pt x="732" y="266"/>
                    </a:cubicBezTo>
                    <a:cubicBezTo>
                      <a:pt x="747" y="273"/>
                      <a:pt x="804" y="276"/>
                      <a:pt x="804" y="276"/>
                    </a:cubicBezTo>
                    <a:lnTo>
                      <a:pt x="843" y="271"/>
                    </a:lnTo>
                    <a:cubicBezTo>
                      <a:pt x="843" y="271"/>
                      <a:pt x="877" y="269"/>
                      <a:pt x="891" y="269"/>
                    </a:cubicBezTo>
                    <a:cubicBezTo>
                      <a:pt x="905" y="269"/>
                      <a:pt x="916" y="287"/>
                      <a:pt x="932" y="290"/>
                    </a:cubicBezTo>
                    <a:cubicBezTo>
                      <a:pt x="947" y="292"/>
                      <a:pt x="969" y="276"/>
                      <a:pt x="969" y="276"/>
                    </a:cubicBezTo>
                    <a:cubicBezTo>
                      <a:pt x="969" y="276"/>
                      <a:pt x="1017" y="270"/>
                      <a:pt x="1034" y="273"/>
                    </a:cubicBezTo>
                    <a:cubicBezTo>
                      <a:pt x="1050" y="276"/>
                      <a:pt x="1080" y="290"/>
                      <a:pt x="1102" y="305"/>
                    </a:cubicBezTo>
                    <a:cubicBezTo>
                      <a:pt x="1125" y="320"/>
                      <a:pt x="1172" y="315"/>
                      <a:pt x="1172" y="315"/>
                    </a:cubicBezTo>
                    <a:cubicBezTo>
                      <a:pt x="1172" y="315"/>
                      <a:pt x="1192" y="330"/>
                      <a:pt x="1200" y="336"/>
                    </a:cubicBezTo>
                    <a:cubicBezTo>
                      <a:pt x="1208" y="341"/>
                      <a:pt x="1234" y="343"/>
                      <a:pt x="1249" y="350"/>
                    </a:cubicBezTo>
                    <a:cubicBezTo>
                      <a:pt x="1264" y="357"/>
                      <a:pt x="1274" y="354"/>
                      <a:pt x="1278" y="344"/>
                    </a:cubicBezTo>
                    <a:cubicBezTo>
                      <a:pt x="1283" y="334"/>
                      <a:pt x="1290" y="311"/>
                      <a:pt x="1290" y="311"/>
                    </a:cubicBezTo>
                    <a:lnTo>
                      <a:pt x="1309" y="281"/>
                    </a:lnTo>
                    <a:lnTo>
                      <a:pt x="1326" y="241"/>
                    </a:lnTo>
                    <a:lnTo>
                      <a:pt x="1371" y="241"/>
                    </a:lnTo>
                    <a:lnTo>
                      <a:pt x="1372" y="239"/>
                    </a:lnTo>
                    <a:lnTo>
                      <a:pt x="1392" y="238"/>
                    </a:lnTo>
                    <a:lnTo>
                      <a:pt x="1402" y="263"/>
                    </a:lnTo>
                    <a:lnTo>
                      <a:pt x="1423" y="313"/>
                    </a:lnTo>
                    <a:lnTo>
                      <a:pt x="1423" y="375"/>
                    </a:lnTo>
                    <a:lnTo>
                      <a:pt x="1420" y="411"/>
                    </a:lnTo>
                    <a:lnTo>
                      <a:pt x="1395" y="467"/>
                    </a:lnTo>
                    <a:lnTo>
                      <a:pt x="1393" y="537"/>
                    </a:lnTo>
                    <a:lnTo>
                      <a:pt x="1378" y="566"/>
                    </a:lnTo>
                    <a:lnTo>
                      <a:pt x="1347" y="632"/>
                    </a:lnTo>
                    <a:lnTo>
                      <a:pt x="1318" y="677"/>
                    </a:lnTo>
                    <a:lnTo>
                      <a:pt x="1258" y="730"/>
                    </a:lnTo>
                    <a:lnTo>
                      <a:pt x="1232" y="747"/>
                    </a:lnTo>
                    <a:lnTo>
                      <a:pt x="1210" y="803"/>
                    </a:lnTo>
                    <a:lnTo>
                      <a:pt x="1199" y="867"/>
                    </a:lnTo>
                    <a:cubicBezTo>
                      <a:pt x="1199" y="867"/>
                      <a:pt x="1163" y="871"/>
                      <a:pt x="1147" y="855"/>
                    </a:cubicBezTo>
                    <a:cubicBezTo>
                      <a:pt x="1131" y="839"/>
                      <a:pt x="1110" y="799"/>
                      <a:pt x="1110" y="799"/>
                    </a:cubicBezTo>
                    <a:lnTo>
                      <a:pt x="1075" y="797"/>
                    </a:lnTo>
                    <a:lnTo>
                      <a:pt x="1054" y="818"/>
                    </a:lnTo>
                    <a:lnTo>
                      <a:pt x="1003" y="813"/>
                    </a:lnTo>
                    <a:lnTo>
                      <a:pt x="966" y="773"/>
                    </a:lnTo>
                    <a:lnTo>
                      <a:pt x="907" y="781"/>
                    </a:lnTo>
                    <a:cubicBezTo>
                      <a:pt x="907" y="781"/>
                      <a:pt x="883" y="746"/>
                      <a:pt x="854" y="751"/>
                    </a:cubicBezTo>
                    <a:cubicBezTo>
                      <a:pt x="825" y="757"/>
                      <a:pt x="790" y="781"/>
                      <a:pt x="790" y="781"/>
                    </a:cubicBezTo>
                    <a:lnTo>
                      <a:pt x="743" y="789"/>
                    </a:lnTo>
                    <a:lnTo>
                      <a:pt x="697" y="826"/>
                    </a:lnTo>
                    <a:lnTo>
                      <a:pt x="634" y="829"/>
                    </a:lnTo>
                    <a:cubicBezTo>
                      <a:pt x="634" y="829"/>
                      <a:pt x="599" y="807"/>
                      <a:pt x="567" y="818"/>
                    </a:cubicBezTo>
                    <a:cubicBezTo>
                      <a:pt x="535" y="829"/>
                      <a:pt x="501" y="860"/>
                      <a:pt x="501" y="860"/>
                    </a:cubicBezTo>
                    <a:lnTo>
                      <a:pt x="466" y="898"/>
                    </a:lnTo>
                    <a:lnTo>
                      <a:pt x="400" y="916"/>
                    </a:lnTo>
                    <a:lnTo>
                      <a:pt x="349" y="927"/>
                    </a:lnTo>
                    <a:lnTo>
                      <a:pt x="325" y="964"/>
                    </a:lnTo>
                    <a:lnTo>
                      <a:pt x="290" y="972"/>
                    </a:lnTo>
                    <a:cubicBezTo>
                      <a:pt x="290" y="972"/>
                      <a:pt x="293" y="946"/>
                      <a:pt x="264" y="948"/>
                    </a:cubicBezTo>
                    <a:cubicBezTo>
                      <a:pt x="235" y="951"/>
                      <a:pt x="224" y="964"/>
                      <a:pt x="224" y="964"/>
                    </a:cubicBezTo>
                    <a:lnTo>
                      <a:pt x="166" y="954"/>
                    </a:lnTo>
                    <a:lnTo>
                      <a:pt x="150" y="930"/>
                    </a:lnTo>
                    <a:lnTo>
                      <a:pt x="131" y="906"/>
                    </a:lnTo>
                    <a:lnTo>
                      <a:pt x="96" y="876"/>
                    </a:lnTo>
                    <a:lnTo>
                      <a:pt x="48" y="858"/>
                    </a:lnTo>
                    <a:lnTo>
                      <a:pt x="13" y="871"/>
                    </a:lnTo>
                    <a:lnTo>
                      <a:pt x="14" y="799"/>
                    </a:lnTo>
                    <a:lnTo>
                      <a:pt x="44" y="759"/>
                    </a:lnTo>
                    <a:lnTo>
                      <a:pt x="82" y="722"/>
                    </a:lnTo>
                    <a:lnTo>
                      <a:pt x="72" y="675"/>
                    </a:lnTo>
                    <a:lnTo>
                      <a:pt x="21" y="630"/>
                    </a:lnTo>
                    <a:lnTo>
                      <a:pt x="27" y="579"/>
                    </a:lnTo>
                    <a:lnTo>
                      <a:pt x="37" y="507"/>
                    </a:lnTo>
                    <a:lnTo>
                      <a:pt x="49" y="474"/>
                    </a:lnTo>
                    <a:lnTo>
                      <a:pt x="46" y="430"/>
                    </a:lnTo>
                    <a:lnTo>
                      <a:pt x="9" y="397"/>
                    </a:lnTo>
                    <a:cubicBezTo>
                      <a:pt x="9" y="397"/>
                      <a:pt x="0" y="373"/>
                      <a:pt x="7" y="355"/>
                    </a:cubicBezTo>
                    <a:cubicBezTo>
                      <a:pt x="14" y="338"/>
                      <a:pt x="35" y="334"/>
                      <a:pt x="51" y="334"/>
                    </a:cubicBezTo>
                    <a:cubicBezTo>
                      <a:pt x="67" y="334"/>
                      <a:pt x="100" y="310"/>
                      <a:pt x="102" y="297"/>
                    </a:cubicBezTo>
                    <a:cubicBezTo>
                      <a:pt x="103" y="285"/>
                      <a:pt x="117" y="248"/>
                      <a:pt x="126" y="220"/>
                    </a:cubicBezTo>
                    <a:cubicBezTo>
                      <a:pt x="135" y="192"/>
                      <a:pt x="142" y="159"/>
                      <a:pt x="142" y="138"/>
                    </a:cubicBezTo>
                    <a:cubicBezTo>
                      <a:pt x="142" y="117"/>
                      <a:pt x="131" y="79"/>
                      <a:pt x="131" y="79"/>
                    </a:cubicBezTo>
                    <a:lnTo>
                      <a:pt x="105" y="54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186"/>
              <p:cNvSpPr>
                <a:spLocks/>
              </p:cNvSpPr>
              <p:nvPr/>
            </p:nvSpPr>
            <p:spPr bwMode="auto">
              <a:xfrm>
                <a:off x="4897811" y="5818012"/>
                <a:ext cx="218012" cy="127194"/>
              </a:xfrm>
              <a:custGeom>
                <a:avLst/>
                <a:gdLst>
                  <a:gd name="T0" fmla="*/ 2147483647 w 1549"/>
                  <a:gd name="T1" fmla="*/ 2147483647 h 905"/>
                  <a:gd name="T2" fmla="*/ 2147483647 w 1549"/>
                  <a:gd name="T3" fmla="*/ 2147483647 h 905"/>
                  <a:gd name="T4" fmla="*/ 2147483647 w 1549"/>
                  <a:gd name="T5" fmla="*/ 2147483647 h 905"/>
                  <a:gd name="T6" fmla="*/ 2147483647 w 1549"/>
                  <a:gd name="T7" fmla="*/ 2147483647 h 905"/>
                  <a:gd name="T8" fmla="*/ 2147483647 w 1549"/>
                  <a:gd name="T9" fmla="*/ 2147483647 h 905"/>
                  <a:gd name="T10" fmla="*/ 2147483647 w 1549"/>
                  <a:gd name="T11" fmla="*/ 2147483647 h 905"/>
                  <a:gd name="T12" fmla="*/ 2147483647 w 1549"/>
                  <a:gd name="T13" fmla="*/ 2147483647 h 905"/>
                  <a:gd name="T14" fmla="*/ 2147483647 w 1549"/>
                  <a:gd name="T15" fmla="*/ 2147483647 h 905"/>
                  <a:gd name="T16" fmla="*/ 2147483647 w 1549"/>
                  <a:gd name="T17" fmla="*/ 2147483647 h 905"/>
                  <a:gd name="T18" fmla="*/ 2147483647 w 1549"/>
                  <a:gd name="T19" fmla="*/ 2147483647 h 905"/>
                  <a:gd name="T20" fmla="*/ 2147483647 w 1549"/>
                  <a:gd name="T21" fmla="*/ 2147483647 h 905"/>
                  <a:gd name="T22" fmla="*/ 2147483647 w 1549"/>
                  <a:gd name="T23" fmla="*/ 2147483647 h 905"/>
                  <a:gd name="T24" fmla="*/ 2147483647 w 1549"/>
                  <a:gd name="T25" fmla="*/ 2147483647 h 905"/>
                  <a:gd name="T26" fmla="*/ 2147483647 w 1549"/>
                  <a:gd name="T27" fmla="*/ 2147483647 h 905"/>
                  <a:gd name="T28" fmla="*/ 2147483647 w 1549"/>
                  <a:gd name="T29" fmla="*/ 2147483647 h 905"/>
                  <a:gd name="T30" fmla="*/ 2147483647 w 1549"/>
                  <a:gd name="T31" fmla="*/ 2147483647 h 905"/>
                  <a:gd name="T32" fmla="*/ 2147483647 w 1549"/>
                  <a:gd name="T33" fmla="*/ 2147483647 h 905"/>
                  <a:gd name="T34" fmla="*/ 2147483647 w 1549"/>
                  <a:gd name="T35" fmla="*/ 2147483647 h 905"/>
                  <a:gd name="T36" fmla="*/ 2147483647 w 1549"/>
                  <a:gd name="T37" fmla="*/ 2147483647 h 905"/>
                  <a:gd name="T38" fmla="*/ 2147483647 w 1549"/>
                  <a:gd name="T39" fmla="*/ 2147483647 h 905"/>
                  <a:gd name="T40" fmla="*/ 2147483647 w 1549"/>
                  <a:gd name="T41" fmla="*/ 2147483647 h 905"/>
                  <a:gd name="T42" fmla="*/ 2147483647 w 1549"/>
                  <a:gd name="T43" fmla="*/ 2147483647 h 905"/>
                  <a:gd name="T44" fmla="*/ 2147483647 w 1549"/>
                  <a:gd name="T45" fmla="*/ 2147483647 h 905"/>
                  <a:gd name="T46" fmla="*/ 2147483647 w 1549"/>
                  <a:gd name="T47" fmla="*/ 2147483647 h 905"/>
                  <a:gd name="T48" fmla="*/ 2147483647 w 1549"/>
                  <a:gd name="T49" fmla="*/ 2147483647 h 905"/>
                  <a:gd name="T50" fmla="*/ 2147483647 w 1549"/>
                  <a:gd name="T51" fmla="*/ 2147483647 h 905"/>
                  <a:gd name="T52" fmla="*/ 2147483647 w 1549"/>
                  <a:gd name="T53" fmla="*/ 2147483647 h 905"/>
                  <a:gd name="T54" fmla="*/ 2147483647 w 1549"/>
                  <a:gd name="T55" fmla="*/ 2147483647 h 905"/>
                  <a:gd name="T56" fmla="*/ 2147483647 w 1549"/>
                  <a:gd name="T57" fmla="*/ 2147483647 h 905"/>
                  <a:gd name="T58" fmla="*/ 2147483647 w 1549"/>
                  <a:gd name="T59" fmla="*/ 2147483647 h 905"/>
                  <a:gd name="T60" fmla="*/ 2147483647 w 1549"/>
                  <a:gd name="T61" fmla="*/ 2147483647 h 905"/>
                  <a:gd name="T62" fmla="*/ 2147483647 w 1549"/>
                  <a:gd name="T63" fmla="*/ 2147483647 h 905"/>
                  <a:gd name="T64" fmla="*/ 2147483647 w 1549"/>
                  <a:gd name="T65" fmla="*/ 2147483647 h 905"/>
                  <a:gd name="T66" fmla="*/ 2147483647 w 1549"/>
                  <a:gd name="T67" fmla="*/ 2147483647 h 905"/>
                  <a:gd name="T68" fmla="*/ 2147483647 w 1549"/>
                  <a:gd name="T69" fmla="*/ 2147483647 h 905"/>
                  <a:gd name="T70" fmla="*/ 2147483647 w 1549"/>
                  <a:gd name="T71" fmla="*/ 2147483647 h 905"/>
                  <a:gd name="T72" fmla="*/ 2147483647 w 1549"/>
                  <a:gd name="T73" fmla="*/ 2147483647 h 905"/>
                  <a:gd name="T74" fmla="*/ 2147483647 w 1549"/>
                  <a:gd name="T75" fmla="*/ 2147483647 h 905"/>
                  <a:gd name="T76" fmla="*/ 2147483647 w 1549"/>
                  <a:gd name="T77" fmla="*/ 2147483647 h 905"/>
                  <a:gd name="T78" fmla="*/ 2147483647 w 1549"/>
                  <a:gd name="T79" fmla="*/ 2147483647 h 905"/>
                  <a:gd name="T80" fmla="*/ 2147483647 w 1549"/>
                  <a:gd name="T81" fmla="*/ 2147483647 h 905"/>
                  <a:gd name="T82" fmla="*/ 2147483647 w 1549"/>
                  <a:gd name="T83" fmla="*/ 2147483647 h 905"/>
                  <a:gd name="T84" fmla="*/ 2147483647 w 1549"/>
                  <a:gd name="T85" fmla="*/ 2147483647 h 905"/>
                  <a:gd name="T86" fmla="*/ 2147483647 w 1549"/>
                  <a:gd name="T87" fmla="*/ 2147483647 h 905"/>
                  <a:gd name="T88" fmla="*/ 2147483647 w 1549"/>
                  <a:gd name="T89" fmla="*/ 2147483647 h 905"/>
                  <a:gd name="T90" fmla="*/ 0 w 1549"/>
                  <a:gd name="T91" fmla="*/ 2147483647 h 905"/>
                  <a:gd name="T92" fmla="*/ 2147483647 w 1549"/>
                  <a:gd name="T93" fmla="*/ 2147483647 h 90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49" h="905">
                    <a:moveTo>
                      <a:pt x="25" y="588"/>
                    </a:moveTo>
                    <a:lnTo>
                      <a:pt x="59" y="594"/>
                    </a:lnTo>
                    <a:lnTo>
                      <a:pt x="88" y="630"/>
                    </a:lnTo>
                    <a:lnTo>
                      <a:pt x="187" y="634"/>
                    </a:lnTo>
                    <a:lnTo>
                      <a:pt x="221" y="663"/>
                    </a:lnTo>
                    <a:lnTo>
                      <a:pt x="228" y="694"/>
                    </a:lnTo>
                    <a:lnTo>
                      <a:pt x="249" y="717"/>
                    </a:lnTo>
                    <a:lnTo>
                      <a:pt x="317" y="715"/>
                    </a:lnTo>
                    <a:lnTo>
                      <a:pt x="356" y="734"/>
                    </a:lnTo>
                    <a:lnTo>
                      <a:pt x="382" y="788"/>
                    </a:lnTo>
                    <a:lnTo>
                      <a:pt x="419" y="788"/>
                    </a:lnTo>
                    <a:lnTo>
                      <a:pt x="441" y="812"/>
                    </a:lnTo>
                    <a:lnTo>
                      <a:pt x="474" y="819"/>
                    </a:lnTo>
                    <a:lnTo>
                      <a:pt x="514" y="812"/>
                    </a:lnTo>
                    <a:lnTo>
                      <a:pt x="555" y="812"/>
                    </a:lnTo>
                    <a:lnTo>
                      <a:pt x="581" y="845"/>
                    </a:lnTo>
                    <a:lnTo>
                      <a:pt x="623" y="845"/>
                    </a:lnTo>
                    <a:lnTo>
                      <a:pt x="671" y="884"/>
                    </a:lnTo>
                    <a:lnTo>
                      <a:pt x="709" y="884"/>
                    </a:lnTo>
                    <a:lnTo>
                      <a:pt x="740" y="883"/>
                    </a:lnTo>
                    <a:lnTo>
                      <a:pt x="764" y="905"/>
                    </a:lnTo>
                    <a:lnTo>
                      <a:pt x="794" y="898"/>
                    </a:lnTo>
                    <a:lnTo>
                      <a:pt x="821" y="846"/>
                    </a:lnTo>
                    <a:lnTo>
                      <a:pt x="871" y="836"/>
                    </a:lnTo>
                    <a:cubicBezTo>
                      <a:pt x="871" y="836"/>
                      <a:pt x="909" y="843"/>
                      <a:pt x="925" y="843"/>
                    </a:cubicBezTo>
                    <a:cubicBezTo>
                      <a:pt x="941" y="843"/>
                      <a:pt x="958" y="848"/>
                      <a:pt x="996" y="829"/>
                    </a:cubicBezTo>
                    <a:cubicBezTo>
                      <a:pt x="1034" y="810"/>
                      <a:pt x="1010" y="802"/>
                      <a:pt x="1041" y="791"/>
                    </a:cubicBezTo>
                    <a:cubicBezTo>
                      <a:pt x="1072" y="781"/>
                      <a:pt x="1079" y="812"/>
                      <a:pt x="1096" y="808"/>
                    </a:cubicBezTo>
                    <a:cubicBezTo>
                      <a:pt x="1113" y="805"/>
                      <a:pt x="1169" y="750"/>
                      <a:pt x="1169" y="750"/>
                    </a:cubicBezTo>
                    <a:lnTo>
                      <a:pt x="1200" y="741"/>
                    </a:lnTo>
                    <a:cubicBezTo>
                      <a:pt x="1200" y="741"/>
                      <a:pt x="1231" y="720"/>
                      <a:pt x="1260" y="703"/>
                    </a:cubicBezTo>
                    <a:cubicBezTo>
                      <a:pt x="1290" y="686"/>
                      <a:pt x="1357" y="656"/>
                      <a:pt x="1357" y="656"/>
                    </a:cubicBezTo>
                    <a:lnTo>
                      <a:pt x="1414" y="622"/>
                    </a:lnTo>
                    <a:lnTo>
                      <a:pt x="1433" y="594"/>
                    </a:lnTo>
                    <a:lnTo>
                      <a:pt x="1476" y="568"/>
                    </a:lnTo>
                    <a:lnTo>
                      <a:pt x="1504" y="542"/>
                    </a:lnTo>
                    <a:lnTo>
                      <a:pt x="1549" y="527"/>
                    </a:lnTo>
                    <a:lnTo>
                      <a:pt x="1549" y="490"/>
                    </a:lnTo>
                    <a:lnTo>
                      <a:pt x="1508" y="492"/>
                    </a:lnTo>
                    <a:cubicBezTo>
                      <a:pt x="1508" y="492"/>
                      <a:pt x="1492" y="508"/>
                      <a:pt x="1476" y="508"/>
                    </a:cubicBezTo>
                    <a:cubicBezTo>
                      <a:pt x="1461" y="508"/>
                      <a:pt x="1342" y="421"/>
                      <a:pt x="1342" y="421"/>
                    </a:cubicBezTo>
                    <a:lnTo>
                      <a:pt x="1319" y="288"/>
                    </a:lnTo>
                    <a:lnTo>
                      <a:pt x="1336" y="262"/>
                    </a:lnTo>
                    <a:lnTo>
                      <a:pt x="1333" y="235"/>
                    </a:lnTo>
                    <a:lnTo>
                      <a:pt x="1312" y="210"/>
                    </a:lnTo>
                    <a:lnTo>
                      <a:pt x="1314" y="162"/>
                    </a:lnTo>
                    <a:lnTo>
                      <a:pt x="1338" y="131"/>
                    </a:lnTo>
                    <a:lnTo>
                      <a:pt x="1338" y="79"/>
                    </a:lnTo>
                    <a:lnTo>
                      <a:pt x="1330" y="52"/>
                    </a:lnTo>
                    <a:lnTo>
                      <a:pt x="1286" y="36"/>
                    </a:lnTo>
                    <a:cubicBezTo>
                      <a:pt x="1286" y="36"/>
                      <a:pt x="1258" y="0"/>
                      <a:pt x="1238" y="0"/>
                    </a:cubicBezTo>
                    <a:cubicBezTo>
                      <a:pt x="1218" y="0"/>
                      <a:pt x="1193" y="42"/>
                      <a:pt x="1193" y="42"/>
                    </a:cubicBezTo>
                    <a:cubicBezTo>
                      <a:pt x="1193" y="42"/>
                      <a:pt x="1165" y="61"/>
                      <a:pt x="1149" y="64"/>
                    </a:cubicBezTo>
                    <a:cubicBezTo>
                      <a:pt x="1132" y="67"/>
                      <a:pt x="1087" y="73"/>
                      <a:pt x="1087" y="73"/>
                    </a:cubicBezTo>
                    <a:lnTo>
                      <a:pt x="1032" y="79"/>
                    </a:lnTo>
                    <a:lnTo>
                      <a:pt x="993" y="106"/>
                    </a:lnTo>
                    <a:lnTo>
                      <a:pt x="989" y="136"/>
                    </a:lnTo>
                    <a:lnTo>
                      <a:pt x="947" y="162"/>
                    </a:lnTo>
                    <a:lnTo>
                      <a:pt x="900" y="168"/>
                    </a:lnTo>
                    <a:lnTo>
                      <a:pt x="858" y="185"/>
                    </a:lnTo>
                    <a:lnTo>
                      <a:pt x="811" y="208"/>
                    </a:lnTo>
                    <a:lnTo>
                      <a:pt x="779" y="226"/>
                    </a:lnTo>
                    <a:lnTo>
                      <a:pt x="737" y="224"/>
                    </a:lnTo>
                    <a:lnTo>
                      <a:pt x="693" y="252"/>
                    </a:lnTo>
                    <a:lnTo>
                      <a:pt x="687" y="281"/>
                    </a:lnTo>
                    <a:lnTo>
                      <a:pt x="653" y="299"/>
                    </a:lnTo>
                    <a:lnTo>
                      <a:pt x="616" y="310"/>
                    </a:lnTo>
                    <a:lnTo>
                      <a:pt x="571" y="327"/>
                    </a:lnTo>
                    <a:lnTo>
                      <a:pt x="518" y="322"/>
                    </a:lnTo>
                    <a:lnTo>
                      <a:pt x="460" y="322"/>
                    </a:lnTo>
                    <a:lnTo>
                      <a:pt x="441" y="312"/>
                    </a:lnTo>
                    <a:lnTo>
                      <a:pt x="420" y="315"/>
                    </a:lnTo>
                    <a:lnTo>
                      <a:pt x="400" y="345"/>
                    </a:lnTo>
                    <a:lnTo>
                      <a:pt x="375" y="348"/>
                    </a:lnTo>
                    <a:lnTo>
                      <a:pt x="368" y="315"/>
                    </a:lnTo>
                    <a:lnTo>
                      <a:pt x="349" y="330"/>
                    </a:lnTo>
                    <a:lnTo>
                      <a:pt x="345" y="354"/>
                    </a:lnTo>
                    <a:lnTo>
                      <a:pt x="313" y="365"/>
                    </a:lnTo>
                    <a:lnTo>
                      <a:pt x="288" y="357"/>
                    </a:lnTo>
                    <a:lnTo>
                      <a:pt x="260" y="385"/>
                    </a:lnTo>
                    <a:cubicBezTo>
                      <a:pt x="260" y="385"/>
                      <a:pt x="274" y="402"/>
                      <a:pt x="263" y="414"/>
                    </a:cubicBezTo>
                    <a:cubicBezTo>
                      <a:pt x="252" y="427"/>
                      <a:pt x="218" y="413"/>
                      <a:pt x="214" y="423"/>
                    </a:cubicBezTo>
                    <a:cubicBezTo>
                      <a:pt x="210" y="432"/>
                      <a:pt x="224" y="455"/>
                      <a:pt x="212" y="460"/>
                    </a:cubicBezTo>
                    <a:cubicBezTo>
                      <a:pt x="201" y="466"/>
                      <a:pt x="179" y="451"/>
                      <a:pt x="179" y="451"/>
                    </a:cubicBezTo>
                    <a:lnTo>
                      <a:pt x="156" y="456"/>
                    </a:lnTo>
                    <a:lnTo>
                      <a:pt x="134" y="486"/>
                    </a:lnTo>
                    <a:lnTo>
                      <a:pt x="141" y="509"/>
                    </a:lnTo>
                    <a:lnTo>
                      <a:pt x="108" y="507"/>
                    </a:lnTo>
                    <a:lnTo>
                      <a:pt x="91" y="491"/>
                    </a:lnTo>
                    <a:lnTo>
                      <a:pt x="61" y="481"/>
                    </a:lnTo>
                    <a:lnTo>
                      <a:pt x="24" y="494"/>
                    </a:lnTo>
                    <a:lnTo>
                      <a:pt x="0" y="529"/>
                    </a:lnTo>
                    <a:lnTo>
                      <a:pt x="4" y="553"/>
                    </a:lnTo>
                    <a:lnTo>
                      <a:pt x="38" y="565"/>
                    </a:lnTo>
                    <a:lnTo>
                      <a:pt x="25" y="588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187"/>
              <p:cNvSpPr>
                <a:spLocks/>
              </p:cNvSpPr>
              <p:nvPr/>
            </p:nvSpPr>
            <p:spPr bwMode="auto">
              <a:xfrm>
                <a:off x="5102611" y="5851049"/>
                <a:ext cx="186632" cy="92505"/>
              </a:xfrm>
              <a:custGeom>
                <a:avLst/>
                <a:gdLst>
                  <a:gd name="T0" fmla="*/ 2147483647 w 1336"/>
                  <a:gd name="T1" fmla="*/ 2147483647 h 655"/>
                  <a:gd name="T2" fmla="*/ 2147483647 w 1336"/>
                  <a:gd name="T3" fmla="*/ 2147483647 h 655"/>
                  <a:gd name="T4" fmla="*/ 0 w 1336"/>
                  <a:gd name="T5" fmla="*/ 2147483647 h 655"/>
                  <a:gd name="T6" fmla="*/ 2147483647 w 1336"/>
                  <a:gd name="T7" fmla="*/ 2147483647 h 655"/>
                  <a:gd name="T8" fmla="*/ 2147483647 w 1336"/>
                  <a:gd name="T9" fmla="*/ 2147483647 h 655"/>
                  <a:gd name="T10" fmla="*/ 2147483647 w 1336"/>
                  <a:gd name="T11" fmla="*/ 2147483647 h 655"/>
                  <a:gd name="T12" fmla="*/ 2147483647 w 1336"/>
                  <a:gd name="T13" fmla="*/ 2147483647 h 655"/>
                  <a:gd name="T14" fmla="*/ 2147483647 w 1336"/>
                  <a:gd name="T15" fmla="*/ 2147483647 h 655"/>
                  <a:gd name="T16" fmla="*/ 2147483647 w 1336"/>
                  <a:gd name="T17" fmla="*/ 2147483647 h 655"/>
                  <a:gd name="T18" fmla="*/ 2147483647 w 1336"/>
                  <a:gd name="T19" fmla="*/ 2147483647 h 655"/>
                  <a:gd name="T20" fmla="*/ 2147483647 w 1336"/>
                  <a:gd name="T21" fmla="*/ 2147483647 h 655"/>
                  <a:gd name="T22" fmla="*/ 2147483647 w 1336"/>
                  <a:gd name="T23" fmla="*/ 2147483647 h 655"/>
                  <a:gd name="T24" fmla="*/ 2147483647 w 1336"/>
                  <a:gd name="T25" fmla="*/ 2147483647 h 655"/>
                  <a:gd name="T26" fmla="*/ 2147483647 w 1336"/>
                  <a:gd name="T27" fmla="*/ 2147483647 h 655"/>
                  <a:gd name="T28" fmla="*/ 2147483647 w 1336"/>
                  <a:gd name="T29" fmla="*/ 2147483647 h 655"/>
                  <a:gd name="T30" fmla="*/ 2147483647 w 1336"/>
                  <a:gd name="T31" fmla="*/ 2147483647 h 655"/>
                  <a:gd name="T32" fmla="*/ 2147483647 w 1336"/>
                  <a:gd name="T33" fmla="*/ 2147483647 h 655"/>
                  <a:gd name="T34" fmla="*/ 2147483647 w 1336"/>
                  <a:gd name="T35" fmla="*/ 2147483647 h 655"/>
                  <a:gd name="T36" fmla="*/ 2147483647 w 1336"/>
                  <a:gd name="T37" fmla="*/ 2147483647 h 655"/>
                  <a:gd name="T38" fmla="*/ 2147483647 w 1336"/>
                  <a:gd name="T39" fmla="*/ 2147483647 h 655"/>
                  <a:gd name="T40" fmla="*/ 2147483647 w 1336"/>
                  <a:gd name="T41" fmla="*/ 2147483647 h 655"/>
                  <a:gd name="T42" fmla="*/ 2147483647 w 1336"/>
                  <a:gd name="T43" fmla="*/ 2147483647 h 655"/>
                  <a:gd name="T44" fmla="*/ 2147483647 w 1336"/>
                  <a:gd name="T45" fmla="*/ 2147483647 h 655"/>
                  <a:gd name="T46" fmla="*/ 2147483647 w 1336"/>
                  <a:gd name="T47" fmla="*/ 2147483647 h 655"/>
                  <a:gd name="T48" fmla="*/ 2147483647 w 1336"/>
                  <a:gd name="T49" fmla="*/ 2147483647 h 655"/>
                  <a:gd name="T50" fmla="*/ 2147483647 w 1336"/>
                  <a:gd name="T51" fmla="*/ 0 h 655"/>
                  <a:gd name="T52" fmla="*/ 2147483647 w 1336"/>
                  <a:gd name="T53" fmla="*/ 2147483647 h 655"/>
                  <a:gd name="T54" fmla="*/ 2147483647 w 1336"/>
                  <a:gd name="T55" fmla="*/ 2147483647 h 655"/>
                  <a:gd name="T56" fmla="*/ 2147483647 w 1336"/>
                  <a:gd name="T57" fmla="*/ 2147483647 h 655"/>
                  <a:gd name="T58" fmla="*/ 2147483647 w 1336"/>
                  <a:gd name="T59" fmla="*/ 2147483647 h 655"/>
                  <a:gd name="T60" fmla="*/ 2147483647 w 1336"/>
                  <a:gd name="T61" fmla="*/ 2147483647 h 655"/>
                  <a:gd name="T62" fmla="*/ 2147483647 w 1336"/>
                  <a:gd name="T63" fmla="*/ 2147483647 h 655"/>
                  <a:gd name="T64" fmla="*/ 2147483647 w 1336"/>
                  <a:gd name="T65" fmla="*/ 2147483647 h 655"/>
                  <a:gd name="T66" fmla="*/ 2147483647 w 1336"/>
                  <a:gd name="T67" fmla="*/ 2147483647 h 655"/>
                  <a:gd name="T68" fmla="*/ 2147483647 w 1336"/>
                  <a:gd name="T69" fmla="*/ 2147483647 h 655"/>
                  <a:gd name="T70" fmla="*/ 2147483647 w 1336"/>
                  <a:gd name="T71" fmla="*/ 2147483647 h 655"/>
                  <a:gd name="T72" fmla="*/ 2147483647 w 1336"/>
                  <a:gd name="T73" fmla="*/ 2147483647 h 655"/>
                  <a:gd name="T74" fmla="*/ 2147483647 w 1336"/>
                  <a:gd name="T75" fmla="*/ 2147483647 h 655"/>
                  <a:gd name="T76" fmla="*/ 2147483647 w 1336"/>
                  <a:gd name="T77" fmla="*/ 2147483647 h 655"/>
                  <a:gd name="T78" fmla="*/ 2147483647 w 1336"/>
                  <a:gd name="T79" fmla="*/ 2147483647 h 65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36" h="655">
                    <a:moveTo>
                      <a:pt x="6" y="338"/>
                    </a:moveTo>
                    <a:lnTo>
                      <a:pt x="24" y="394"/>
                    </a:lnTo>
                    <a:lnTo>
                      <a:pt x="19" y="440"/>
                    </a:lnTo>
                    <a:lnTo>
                      <a:pt x="21" y="490"/>
                    </a:lnTo>
                    <a:lnTo>
                      <a:pt x="0" y="524"/>
                    </a:lnTo>
                    <a:lnTo>
                      <a:pt x="2" y="579"/>
                    </a:lnTo>
                    <a:lnTo>
                      <a:pt x="37" y="546"/>
                    </a:lnTo>
                    <a:lnTo>
                      <a:pt x="108" y="545"/>
                    </a:lnTo>
                    <a:lnTo>
                      <a:pt x="129" y="572"/>
                    </a:lnTo>
                    <a:lnTo>
                      <a:pt x="171" y="564"/>
                    </a:lnTo>
                    <a:lnTo>
                      <a:pt x="192" y="546"/>
                    </a:lnTo>
                    <a:lnTo>
                      <a:pt x="257" y="550"/>
                    </a:lnTo>
                    <a:lnTo>
                      <a:pt x="308" y="600"/>
                    </a:lnTo>
                    <a:lnTo>
                      <a:pt x="351" y="604"/>
                    </a:lnTo>
                    <a:lnTo>
                      <a:pt x="421" y="627"/>
                    </a:lnTo>
                    <a:lnTo>
                      <a:pt x="468" y="632"/>
                    </a:lnTo>
                    <a:lnTo>
                      <a:pt x="507" y="595"/>
                    </a:lnTo>
                    <a:lnTo>
                      <a:pt x="556" y="571"/>
                    </a:lnTo>
                    <a:lnTo>
                      <a:pt x="603" y="564"/>
                    </a:lnTo>
                    <a:lnTo>
                      <a:pt x="621" y="606"/>
                    </a:lnTo>
                    <a:lnTo>
                      <a:pt x="666" y="630"/>
                    </a:lnTo>
                    <a:lnTo>
                      <a:pt x="693" y="630"/>
                    </a:lnTo>
                    <a:lnTo>
                      <a:pt x="710" y="655"/>
                    </a:lnTo>
                    <a:lnTo>
                      <a:pt x="769" y="623"/>
                    </a:lnTo>
                    <a:lnTo>
                      <a:pt x="804" y="599"/>
                    </a:lnTo>
                    <a:lnTo>
                      <a:pt x="850" y="546"/>
                    </a:lnTo>
                    <a:lnTo>
                      <a:pt x="904" y="506"/>
                    </a:lnTo>
                    <a:lnTo>
                      <a:pt x="940" y="487"/>
                    </a:lnTo>
                    <a:lnTo>
                      <a:pt x="954" y="466"/>
                    </a:lnTo>
                    <a:lnTo>
                      <a:pt x="958" y="431"/>
                    </a:lnTo>
                    <a:lnTo>
                      <a:pt x="1047" y="426"/>
                    </a:lnTo>
                    <a:lnTo>
                      <a:pt x="1059" y="396"/>
                    </a:lnTo>
                    <a:lnTo>
                      <a:pt x="1088" y="400"/>
                    </a:lnTo>
                    <a:lnTo>
                      <a:pt x="1078" y="378"/>
                    </a:lnTo>
                    <a:lnTo>
                      <a:pt x="1095" y="337"/>
                    </a:lnTo>
                    <a:lnTo>
                      <a:pt x="1130" y="324"/>
                    </a:lnTo>
                    <a:lnTo>
                      <a:pt x="1184" y="244"/>
                    </a:lnTo>
                    <a:lnTo>
                      <a:pt x="1287" y="240"/>
                    </a:lnTo>
                    <a:lnTo>
                      <a:pt x="1288" y="206"/>
                    </a:lnTo>
                    <a:lnTo>
                      <a:pt x="1333" y="161"/>
                    </a:lnTo>
                    <a:lnTo>
                      <a:pt x="1336" y="121"/>
                    </a:lnTo>
                    <a:lnTo>
                      <a:pt x="1323" y="76"/>
                    </a:lnTo>
                    <a:lnTo>
                      <a:pt x="1293" y="70"/>
                    </a:lnTo>
                    <a:lnTo>
                      <a:pt x="1272" y="93"/>
                    </a:lnTo>
                    <a:lnTo>
                      <a:pt x="1211" y="62"/>
                    </a:lnTo>
                    <a:lnTo>
                      <a:pt x="1154" y="50"/>
                    </a:lnTo>
                    <a:lnTo>
                      <a:pt x="1096" y="55"/>
                    </a:lnTo>
                    <a:lnTo>
                      <a:pt x="1044" y="53"/>
                    </a:lnTo>
                    <a:lnTo>
                      <a:pt x="1012" y="59"/>
                    </a:lnTo>
                    <a:lnTo>
                      <a:pt x="943" y="59"/>
                    </a:lnTo>
                    <a:lnTo>
                      <a:pt x="923" y="32"/>
                    </a:lnTo>
                    <a:lnTo>
                      <a:pt x="881" y="5"/>
                    </a:lnTo>
                    <a:lnTo>
                      <a:pt x="832" y="0"/>
                    </a:lnTo>
                    <a:lnTo>
                      <a:pt x="814" y="22"/>
                    </a:lnTo>
                    <a:lnTo>
                      <a:pt x="792" y="47"/>
                    </a:lnTo>
                    <a:lnTo>
                      <a:pt x="814" y="72"/>
                    </a:lnTo>
                    <a:lnTo>
                      <a:pt x="790" y="89"/>
                    </a:lnTo>
                    <a:lnTo>
                      <a:pt x="752" y="43"/>
                    </a:lnTo>
                    <a:lnTo>
                      <a:pt x="725" y="52"/>
                    </a:lnTo>
                    <a:lnTo>
                      <a:pt x="663" y="20"/>
                    </a:lnTo>
                    <a:lnTo>
                      <a:pt x="619" y="30"/>
                    </a:lnTo>
                    <a:lnTo>
                      <a:pt x="602" y="8"/>
                    </a:lnTo>
                    <a:lnTo>
                      <a:pt x="569" y="5"/>
                    </a:lnTo>
                    <a:lnTo>
                      <a:pt x="520" y="45"/>
                    </a:lnTo>
                    <a:lnTo>
                      <a:pt x="478" y="50"/>
                    </a:lnTo>
                    <a:lnTo>
                      <a:pt x="444" y="66"/>
                    </a:lnTo>
                    <a:lnTo>
                      <a:pt x="424" y="63"/>
                    </a:lnTo>
                    <a:lnTo>
                      <a:pt x="394" y="98"/>
                    </a:lnTo>
                    <a:lnTo>
                      <a:pt x="359" y="110"/>
                    </a:lnTo>
                    <a:lnTo>
                      <a:pt x="337" y="95"/>
                    </a:lnTo>
                    <a:lnTo>
                      <a:pt x="297" y="95"/>
                    </a:lnTo>
                    <a:lnTo>
                      <a:pt x="238" y="138"/>
                    </a:lnTo>
                    <a:lnTo>
                      <a:pt x="186" y="147"/>
                    </a:lnTo>
                    <a:lnTo>
                      <a:pt x="142" y="199"/>
                    </a:lnTo>
                    <a:lnTo>
                      <a:pt x="114" y="207"/>
                    </a:lnTo>
                    <a:lnTo>
                      <a:pt x="90" y="224"/>
                    </a:lnTo>
                    <a:lnTo>
                      <a:pt x="90" y="253"/>
                    </a:lnTo>
                    <a:lnTo>
                      <a:pt x="90" y="290"/>
                    </a:lnTo>
                    <a:lnTo>
                      <a:pt x="45" y="305"/>
                    </a:lnTo>
                    <a:lnTo>
                      <a:pt x="6" y="338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188"/>
              <p:cNvSpPr>
                <a:spLocks/>
              </p:cNvSpPr>
              <p:nvPr/>
            </p:nvSpPr>
            <p:spPr bwMode="auto">
              <a:xfrm>
                <a:off x="4881295" y="5900606"/>
                <a:ext cx="94142" cy="100764"/>
              </a:xfrm>
              <a:custGeom>
                <a:avLst/>
                <a:gdLst>
                  <a:gd name="T0" fmla="*/ 2147483647 w 669"/>
                  <a:gd name="T1" fmla="*/ 0 h 717"/>
                  <a:gd name="T2" fmla="*/ 2147483647 w 669"/>
                  <a:gd name="T3" fmla="*/ 0 h 717"/>
                  <a:gd name="T4" fmla="*/ 2147483647 w 669"/>
                  <a:gd name="T5" fmla="*/ 2147483647 h 717"/>
                  <a:gd name="T6" fmla="*/ 2147483647 w 669"/>
                  <a:gd name="T7" fmla="*/ 2147483647 h 717"/>
                  <a:gd name="T8" fmla="*/ 2147483647 w 669"/>
                  <a:gd name="T9" fmla="*/ 2147483647 h 717"/>
                  <a:gd name="T10" fmla="*/ 2147483647 w 669"/>
                  <a:gd name="T11" fmla="*/ 2147483647 h 717"/>
                  <a:gd name="T12" fmla="*/ 2147483647 w 669"/>
                  <a:gd name="T13" fmla="*/ 2147483647 h 717"/>
                  <a:gd name="T14" fmla="*/ 2147483647 w 669"/>
                  <a:gd name="T15" fmla="*/ 2147483647 h 717"/>
                  <a:gd name="T16" fmla="*/ 2147483647 w 669"/>
                  <a:gd name="T17" fmla="*/ 2147483647 h 717"/>
                  <a:gd name="T18" fmla="*/ 2147483647 w 669"/>
                  <a:gd name="T19" fmla="*/ 2147483647 h 717"/>
                  <a:gd name="T20" fmla="*/ 2147483647 w 669"/>
                  <a:gd name="T21" fmla="*/ 2147483647 h 717"/>
                  <a:gd name="T22" fmla="*/ 2147483647 w 669"/>
                  <a:gd name="T23" fmla="*/ 2147483647 h 717"/>
                  <a:gd name="T24" fmla="*/ 2147483647 w 669"/>
                  <a:gd name="T25" fmla="*/ 2147483647 h 717"/>
                  <a:gd name="T26" fmla="*/ 2147483647 w 669"/>
                  <a:gd name="T27" fmla="*/ 2147483647 h 717"/>
                  <a:gd name="T28" fmla="*/ 2147483647 w 669"/>
                  <a:gd name="T29" fmla="*/ 2147483647 h 717"/>
                  <a:gd name="T30" fmla="*/ 2147483647 w 669"/>
                  <a:gd name="T31" fmla="*/ 2147483647 h 717"/>
                  <a:gd name="T32" fmla="*/ 2147483647 w 669"/>
                  <a:gd name="T33" fmla="*/ 2147483647 h 717"/>
                  <a:gd name="T34" fmla="*/ 2147483647 w 669"/>
                  <a:gd name="T35" fmla="*/ 2147483647 h 717"/>
                  <a:gd name="T36" fmla="*/ 2147483647 w 669"/>
                  <a:gd name="T37" fmla="*/ 2147483647 h 717"/>
                  <a:gd name="T38" fmla="*/ 2147483647 w 669"/>
                  <a:gd name="T39" fmla="*/ 2147483647 h 717"/>
                  <a:gd name="T40" fmla="*/ 2147483647 w 669"/>
                  <a:gd name="T41" fmla="*/ 2147483647 h 717"/>
                  <a:gd name="T42" fmla="*/ 2147483647 w 669"/>
                  <a:gd name="T43" fmla="*/ 2147483647 h 717"/>
                  <a:gd name="T44" fmla="*/ 2147483647 w 669"/>
                  <a:gd name="T45" fmla="*/ 2147483647 h 717"/>
                  <a:gd name="T46" fmla="*/ 2147483647 w 669"/>
                  <a:gd name="T47" fmla="*/ 2147483647 h 717"/>
                  <a:gd name="T48" fmla="*/ 2147483647 w 669"/>
                  <a:gd name="T49" fmla="*/ 2147483647 h 717"/>
                  <a:gd name="T50" fmla="*/ 2147483647 w 669"/>
                  <a:gd name="T51" fmla="*/ 2147483647 h 717"/>
                  <a:gd name="T52" fmla="*/ 2147483647 w 669"/>
                  <a:gd name="T53" fmla="*/ 2147483647 h 717"/>
                  <a:gd name="T54" fmla="*/ 2147483647 w 669"/>
                  <a:gd name="T55" fmla="*/ 2147483647 h 717"/>
                  <a:gd name="T56" fmla="*/ 2147483647 w 669"/>
                  <a:gd name="T57" fmla="*/ 2147483647 h 717"/>
                  <a:gd name="T58" fmla="*/ 2147483647 w 669"/>
                  <a:gd name="T59" fmla="*/ 2147483647 h 717"/>
                  <a:gd name="T60" fmla="*/ 2147483647 w 669"/>
                  <a:gd name="T61" fmla="*/ 2147483647 h 717"/>
                  <a:gd name="T62" fmla="*/ 2147483647 w 669"/>
                  <a:gd name="T63" fmla="*/ 2147483647 h 717"/>
                  <a:gd name="T64" fmla="*/ 2147483647 w 669"/>
                  <a:gd name="T65" fmla="*/ 2147483647 h 717"/>
                  <a:gd name="T66" fmla="*/ 2147483647 w 669"/>
                  <a:gd name="T67" fmla="*/ 2147483647 h 717"/>
                  <a:gd name="T68" fmla="*/ 2147483647 w 669"/>
                  <a:gd name="T69" fmla="*/ 2147483647 h 717"/>
                  <a:gd name="T70" fmla="*/ 2147483647 w 669"/>
                  <a:gd name="T71" fmla="*/ 2147483647 h 717"/>
                  <a:gd name="T72" fmla="*/ 2147483647 w 669"/>
                  <a:gd name="T73" fmla="*/ 2147483647 h 717"/>
                  <a:gd name="T74" fmla="*/ 2147483647 w 669"/>
                  <a:gd name="T75" fmla="*/ 2147483647 h 717"/>
                  <a:gd name="T76" fmla="*/ 2147483647 w 669"/>
                  <a:gd name="T77" fmla="*/ 2147483647 h 717"/>
                  <a:gd name="T78" fmla="*/ 2147483647 w 669"/>
                  <a:gd name="T79" fmla="*/ 2147483647 h 717"/>
                  <a:gd name="T80" fmla="*/ 2147483647 w 669"/>
                  <a:gd name="T81" fmla="*/ 2147483647 h 717"/>
                  <a:gd name="T82" fmla="*/ 2147483647 w 669"/>
                  <a:gd name="T83" fmla="*/ 2147483647 h 717"/>
                  <a:gd name="T84" fmla="*/ 2147483647 w 669"/>
                  <a:gd name="T85" fmla="*/ 2147483647 h 717"/>
                  <a:gd name="T86" fmla="*/ 2147483647 w 669"/>
                  <a:gd name="T87" fmla="*/ 2147483647 h 717"/>
                  <a:gd name="T88" fmla="*/ 2147483647 w 669"/>
                  <a:gd name="T89" fmla="*/ 2147483647 h 717"/>
                  <a:gd name="T90" fmla="*/ 2147483647 w 669"/>
                  <a:gd name="T91" fmla="*/ 2147483647 h 717"/>
                  <a:gd name="T92" fmla="*/ 2147483647 w 669"/>
                  <a:gd name="T93" fmla="*/ 2147483647 h 717"/>
                  <a:gd name="T94" fmla="*/ 2147483647 w 669"/>
                  <a:gd name="T95" fmla="*/ 2147483647 h 717"/>
                  <a:gd name="T96" fmla="*/ 2147483647 w 669"/>
                  <a:gd name="T97" fmla="*/ 2147483647 h 717"/>
                  <a:gd name="T98" fmla="*/ 2147483647 w 669"/>
                  <a:gd name="T99" fmla="*/ 2147483647 h 717"/>
                  <a:gd name="T100" fmla="*/ 2147483647 w 669"/>
                  <a:gd name="T101" fmla="*/ 2147483647 h 717"/>
                  <a:gd name="T102" fmla="*/ 0 w 669"/>
                  <a:gd name="T103" fmla="*/ 2147483647 h 717"/>
                  <a:gd name="T104" fmla="*/ 0 w 669"/>
                  <a:gd name="T105" fmla="*/ 2147483647 h 717"/>
                  <a:gd name="T106" fmla="*/ 2147483647 w 669"/>
                  <a:gd name="T107" fmla="*/ 2147483647 h 717"/>
                  <a:gd name="T108" fmla="*/ 2147483647 w 669"/>
                  <a:gd name="T109" fmla="*/ 2147483647 h 717"/>
                  <a:gd name="T110" fmla="*/ 2147483647 w 669"/>
                  <a:gd name="T111" fmla="*/ 2147483647 h 717"/>
                  <a:gd name="T112" fmla="*/ 2147483647 w 669"/>
                  <a:gd name="T113" fmla="*/ 2147483647 h 717"/>
                  <a:gd name="T114" fmla="*/ 2147483647 w 669"/>
                  <a:gd name="T115" fmla="*/ 0 h 71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69" h="717">
                    <a:moveTo>
                      <a:pt x="136" y="1"/>
                    </a:moveTo>
                    <a:lnTo>
                      <a:pt x="151" y="0"/>
                    </a:lnTo>
                    <a:lnTo>
                      <a:pt x="185" y="6"/>
                    </a:lnTo>
                    <a:lnTo>
                      <a:pt x="214" y="42"/>
                    </a:lnTo>
                    <a:lnTo>
                      <a:pt x="313" y="46"/>
                    </a:lnTo>
                    <a:lnTo>
                      <a:pt x="347" y="75"/>
                    </a:lnTo>
                    <a:lnTo>
                      <a:pt x="354" y="106"/>
                    </a:lnTo>
                    <a:lnTo>
                      <a:pt x="375" y="129"/>
                    </a:lnTo>
                    <a:lnTo>
                      <a:pt x="443" y="127"/>
                    </a:lnTo>
                    <a:lnTo>
                      <a:pt x="482" y="146"/>
                    </a:lnTo>
                    <a:lnTo>
                      <a:pt x="508" y="200"/>
                    </a:lnTo>
                    <a:lnTo>
                      <a:pt x="508" y="219"/>
                    </a:lnTo>
                    <a:lnTo>
                      <a:pt x="537" y="235"/>
                    </a:lnTo>
                    <a:lnTo>
                      <a:pt x="557" y="251"/>
                    </a:lnTo>
                    <a:lnTo>
                      <a:pt x="557" y="299"/>
                    </a:lnTo>
                    <a:lnTo>
                      <a:pt x="577" y="316"/>
                    </a:lnTo>
                    <a:cubicBezTo>
                      <a:pt x="577" y="316"/>
                      <a:pt x="593" y="312"/>
                      <a:pt x="598" y="320"/>
                    </a:cubicBezTo>
                    <a:cubicBezTo>
                      <a:pt x="602" y="328"/>
                      <a:pt x="602" y="347"/>
                      <a:pt x="602" y="347"/>
                    </a:cubicBezTo>
                    <a:lnTo>
                      <a:pt x="600" y="386"/>
                    </a:lnTo>
                    <a:lnTo>
                      <a:pt x="605" y="412"/>
                    </a:lnTo>
                    <a:lnTo>
                      <a:pt x="620" y="449"/>
                    </a:lnTo>
                    <a:lnTo>
                      <a:pt x="627" y="474"/>
                    </a:lnTo>
                    <a:lnTo>
                      <a:pt x="626" y="505"/>
                    </a:lnTo>
                    <a:lnTo>
                      <a:pt x="644" y="523"/>
                    </a:lnTo>
                    <a:lnTo>
                      <a:pt x="663" y="541"/>
                    </a:lnTo>
                    <a:lnTo>
                      <a:pt x="669" y="618"/>
                    </a:lnTo>
                    <a:lnTo>
                      <a:pt x="654" y="649"/>
                    </a:lnTo>
                    <a:lnTo>
                      <a:pt x="648" y="658"/>
                    </a:lnTo>
                    <a:lnTo>
                      <a:pt x="633" y="662"/>
                    </a:lnTo>
                    <a:lnTo>
                      <a:pt x="599" y="640"/>
                    </a:lnTo>
                    <a:lnTo>
                      <a:pt x="570" y="619"/>
                    </a:lnTo>
                    <a:lnTo>
                      <a:pt x="549" y="614"/>
                    </a:lnTo>
                    <a:cubicBezTo>
                      <a:pt x="549" y="614"/>
                      <a:pt x="546" y="594"/>
                      <a:pt x="535" y="594"/>
                    </a:cubicBezTo>
                    <a:cubicBezTo>
                      <a:pt x="523" y="594"/>
                      <a:pt x="515" y="622"/>
                      <a:pt x="515" y="622"/>
                    </a:cubicBezTo>
                    <a:lnTo>
                      <a:pt x="487" y="653"/>
                    </a:lnTo>
                    <a:lnTo>
                      <a:pt x="427" y="656"/>
                    </a:lnTo>
                    <a:lnTo>
                      <a:pt x="361" y="709"/>
                    </a:lnTo>
                    <a:lnTo>
                      <a:pt x="315" y="717"/>
                    </a:lnTo>
                    <a:lnTo>
                      <a:pt x="252" y="710"/>
                    </a:lnTo>
                    <a:lnTo>
                      <a:pt x="176" y="712"/>
                    </a:lnTo>
                    <a:lnTo>
                      <a:pt x="173" y="635"/>
                    </a:lnTo>
                    <a:lnTo>
                      <a:pt x="162" y="595"/>
                    </a:lnTo>
                    <a:lnTo>
                      <a:pt x="145" y="571"/>
                    </a:lnTo>
                    <a:lnTo>
                      <a:pt x="122" y="546"/>
                    </a:lnTo>
                    <a:lnTo>
                      <a:pt x="110" y="483"/>
                    </a:lnTo>
                    <a:lnTo>
                      <a:pt x="132" y="457"/>
                    </a:lnTo>
                    <a:lnTo>
                      <a:pt x="134" y="431"/>
                    </a:lnTo>
                    <a:lnTo>
                      <a:pt x="122" y="394"/>
                    </a:lnTo>
                    <a:lnTo>
                      <a:pt x="98" y="384"/>
                    </a:lnTo>
                    <a:lnTo>
                      <a:pt x="77" y="366"/>
                    </a:lnTo>
                    <a:lnTo>
                      <a:pt x="31" y="253"/>
                    </a:lnTo>
                    <a:lnTo>
                      <a:pt x="5" y="242"/>
                    </a:lnTo>
                    <a:lnTo>
                      <a:pt x="0" y="195"/>
                    </a:lnTo>
                    <a:lnTo>
                      <a:pt x="28" y="148"/>
                    </a:lnTo>
                    <a:lnTo>
                      <a:pt x="80" y="106"/>
                    </a:lnTo>
                    <a:lnTo>
                      <a:pt x="115" y="79"/>
                    </a:lnTo>
                    <a:lnTo>
                      <a:pt x="131" y="32"/>
                    </a:lnTo>
                    <a:lnTo>
                      <a:pt x="136" y="1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189"/>
              <p:cNvSpPr>
                <a:spLocks/>
              </p:cNvSpPr>
              <p:nvPr/>
            </p:nvSpPr>
            <p:spPr bwMode="auto">
              <a:xfrm>
                <a:off x="4777244" y="5979896"/>
                <a:ext cx="142038" cy="82594"/>
              </a:xfrm>
              <a:custGeom>
                <a:avLst/>
                <a:gdLst>
                  <a:gd name="T0" fmla="*/ 2147483647 w 1019"/>
                  <a:gd name="T1" fmla="*/ 2147483647 h 599"/>
                  <a:gd name="T2" fmla="*/ 2147483647 w 1019"/>
                  <a:gd name="T3" fmla="*/ 2147483647 h 599"/>
                  <a:gd name="T4" fmla="*/ 2147483647 w 1019"/>
                  <a:gd name="T5" fmla="*/ 2147483647 h 599"/>
                  <a:gd name="T6" fmla="*/ 2147483647 w 1019"/>
                  <a:gd name="T7" fmla="*/ 2147483647 h 599"/>
                  <a:gd name="T8" fmla="*/ 2147483647 w 1019"/>
                  <a:gd name="T9" fmla="*/ 2147483647 h 599"/>
                  <a:gd name="T10" fmla="*/ 2147483647 w 1019"/>
                  <a:gd name="T11" fmla="*/ 2147483647 h 599"/>
                  <a:gd name="T12" fmla="*/ 2147483647 w 1019"/>
                  <a:gd name="T13" fmla="*/ 2147483647 h 599"/>
                  <a:gd name="T14" fmla="*/ 2147483647 w 1019"/>
                  <a:gd name="T15" fmla="*/ 2147483647 h 599"/>
                  <a:gd name="T16" fmla="*/ 2147483647 w 1019"/>
                  <a:gd name="T17" fmla="*/ 2147483647 h 599"/>
                  <a:gd name="T18" fmla="*/ 2147483647 w 1019"/>
                  <a:gd name="T19" fmla="*/ 2147483647 h 599"/>
                  <a:gd name="T20" fmla="*/ 2147483647 w 1019"/>
                  <a:gd name="T21" fmla="*/ 2147483647 h 599"/>
                  <a:gd name="T22" fmla="*/ 2147483647 w 1019"/>
                  <a:gd name="T23" fmla="*/ 2147483647 h 599"/>
                  <a:gd name="T24" fmla="*/ 2147483647 w 1019"/>
                  <a:gd name="T25" fmla="*/ 2147483647 h 599"/>
                  <a:gd name="T26" fmla="*/ 2147483647 w 1019"/>
                  <a:gd name="T27" fmla="*/ 2147483647 h 599"/>
                  <a:gd name="T28" fmla="*/ 2147483647 w 1019"/>
                  <a:gd name="T29" fmla="*/ 2147483647 h 599"/>
                  <a:gd name="T30" fmla="*/ 2147483647 w 1019"/>
                  <a:gd name="T31" fmla="*/ 2147483647 h 599"/>
                  <a:gd name="T32" fmla="*/ 2147483647 w 1019"/>
                  <a:gd name="T33" fmla="*/ 2147483647 h 599"/>
                  <a:gd name="T34" fmla="*/ 2147483647 w 1019"/>
                  <a:gd name="T35" fmla="*/ 2147483647 h 599"/>
                  <a:gd name="T36" fmla="*/ 2147483647 w 1019"/>
                  <a:gd name="T37" fmla="*/ 2147483647 h 599"/>
                  <a:gd name="T38" fmla="*/ 2147483647 w 1019"/>
                  <a:gd name="T39" fmla="*/ 2147483647 h 599"/>
                  <a:gd name="T40" fmla="*/ 2147483647 w 1019"/>
                  <a:gd name="T41" fmla="*/ 2147483647 h 599"/>
                  <a:gd name="T42" fmla="*/ 2147483647 w 1019"/>
                  <a:gd name="T43" fmla="*/ 2147483647 h 599"/>
                  <a:gd name="T44" fmla="*/ 2147483647 w 1019"/>
                  <a:gd name="T45" fmla="*/ 2147483647 h 599"/>
                  <a:gd name="T46" fmla="*/ 2147483647 w 1019"/>
                  <a:gd name="T47" fmla="*/ 2147483647 h 599"/>
                  <a:gd name="T48" fmla="*/ 2147483647 w 1019"/>
                  <a:gd name="T49" fmla="*/ 2147483647 h 599"/>
                  <a:gd name="T50" fmla="*/ 2147483647 w 1019"/>
                  <a:gd name="T51" fmla="*/ 2147483647 h 599"/>
                  <a:gd name="T52" fmla="*/ 2147483647 w 1019"/>
                  <a:gd name="T53" fmla="*/ 2147483647 h 599"/>
                  <a:gd name="T54" fmla="*/ 2147483647 w 1019"/>
                  <a:gd name="T55" fmla="*/ 2147483647 h 599"/>
                  <a:gd name="T56" fmla="*/ 2147483647 w 1019"/>
                  <a:gd name="T57" fmla="*/ 2147483647 h 599"/>
                  <a:gd name="T58" fmla="*/ 2147483647 w 1019"/>
                  <a:gd name="T59" fmla="*/ 0 h 599"/>
                  <a:gd name="T60" fmla="*/ 2147483647 w 1019"/>
                  <a:gd name="T61" fmla="*/ 0 h 599"/>
                  <a:gd name="T62" fmla="*/ 2147483647 w 1019"/>
                  <a:gd name="T63" fmla="*/ 2147483647 h 599"/>
                  <a:gd name="T64" fmla="*/ 2147483647 w 1019"/>
                  <a:gd name="T65" fmla="*/ 2147483647 h 599"/>
                  <a:gd name="T66" fmla="*/ 0 w 1019"/>
                  <a:gd name="T67" fmla="*/ 2147483647 h 599"/>
                  <a:gd name="T68" fmla="*/ 0 w 1019"/>
                  <a:gd name="T69" fmla="*/ 2147483647 h 599"/>
                  <a:gd name="T70" fmla="*/ 2147483647 w 1019"/>
                  <a:gd name="T71" fmla="*/ 2147483647 h 599"/>
                  <a:gd name="T72" fmla="*/ 2147483647 w 1019"/>
                  <a:gd name="T73" fmla="*/ 2147483647 h 599"/>
                  <a:gd name="T74" fmla="*/ 2147483647 w 1019"/>
                  <a:gd name="T75" fmla="*/ 2147483647 h 599"/>
                  <a:gd name="T76" fmla="*/ 2147483647 w 1019"/>
                  <a:gd name="T77" fmla="*/ 2147483647 h 599"/>
                  <a:gd name="T78" fmla="*/ 2147483647 w 1019"/>
                  <a:gd name="T79" fmla="*/ 2147483647 h 599"/>
                  <a:gd name="T80" fmla="*/ 2147483647 w 1019"/>
                  <a:gd name="T81" fmla="*/ 2147483647 h 599"/>
                  <a:gd name="T82" fmla="*/ 2147483647 w 1019"/>
                  <a:gd name="T83" fmla="*/ 2147483647 h 599"/>
                  <a:gd name="T84" fmla="*/ 2147483647 w 1019"/>
                  <a:gd name="T85" fmla="*/ 2147483647 h 599"/>
                  <a:gd name="T86" fmla="*/ 2147483647 w 1019"/>
                  <a:gd name="T87" fmla="*/ 2147483647 h 599"/>
                  <a:gd name="T88" fmla="*/ 2147483647 w 1019"/>
                  <a:gd name="T89" fmla="*/ 2147483647 h 599"/>
                  <a:gd name="T90" fmla="*/ 2147483647 w 1019"/>
                  <a:gd name="T91" fmla="*/ 2147483647 h 599"/>
                  <a:gd name="T92" fmla="*/ 2147483647 w 1019"/>
                  <a:gd name="T93" fmla="*/ 2147483647 h 599"/>
                  <a:gd name="T94" fmla="*/ 2147483647 w 1019"/>
                  <a:gd name="T95" fmla="*/ 2147483647 h 599"/>
                  <a:gd name="T96" fmla="*/ 2147483647 w 1019"/>
                  <a:gd name="T97" fmla="*/ 2147483647 h 599"/>
                  <a:gd name="T98" fmla="*/ 2147483647 w 1019"/>
                  <a:gd name="T99" fmla="*/ 2147483647 h 599"/>
                  <a:gd name="T100" fmla="*/ 2147483647 w 1019"/>
                  <a:gd name="T101" fmla="*/ 2147483647 h 599"/>
                  <a:gd name="T102" fmla="*/ 2147483647 w 1019"/>
                  <a:gd name="T103" fmla="*/ 2147483647 h 599"/>
                  <a:gd name="T104" fmla="*/ 2147483647 w 1019"/>
                  <a:gd name="T105" fmla="*/ 2147483647 h 599"/>
                  <a:gd name="T106" fmla="*/ 2147483647 w 1019"/>
                  <a:gd name="T107" fmla="*/ 2147483647 h 599"/>
                  <a:gd name="T108" fmla="*/ 2147483647 w 1019"/>
                  <a:gd name="T109" fmla="*/ 2147483647 h 599"/>
                  <a:gd name="T110" fmla="*/ 2147483647 w 1019"/>
                  <a:gd name="T111" fmla="*/ 2147483647 h 599"/>
                  <a:gd name="T112" fmla="*/ 2147483647 w 1019"/>
                  <a:gd name="T113" fmla="*/ 2147483647 h 599"/>
                  <a:gd name="T114" fmla="*/ 2147483647 w 1019"/>
                  <a:gd name="T115" fmla="*/ 2147483647 h 599"/>
                  <a:gd name="T116" fmla="*/ 2147483647 w 1019"/>
                  <a:gd name="T117" fmla="*/ 2147483647 h 599"/>
                  <a:gd name="T118" fmla="*/ 2147483647 w 1019"/>
                  <a:gd name="T119" fmla="*/ 2147483647 h 599"/>
                  <a:gd name="T120" fmla="*/ 2147483647 w 1019"/>
                  <a:gd name="T121" fmla="*/ 2147483647 h 599"/>
                  <a:gd name="T122" fmla="*/ 2147483647 w 1019"/>
                  <a:gd name="T123" fmla="*/ 2147483647 h 599"/>
                  <a:gd name="T124" fmla="*/ 2147483647 w 1019"/>
                  <a:gd name="T125" fmla="*/ 2147483647 h 59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19" h="599">
                    <a:moveTo>
                      <a:pt x="894" y="561"/>
                    </a:moveTo>
                    <a:lnTo>
                      <a:pt x="897" y="540"/>
                    </a:lnTo>
                    <a:lnTo>
                      <a:pt x="922" y="526"/>
                    </a:lnTo>
                    <a:lnTo>
                      <a:pt x="918" y="493"/>
                    </a:lnTo>
                    <a:lnTo>
                      <a:pt x="936" y="468"/>
                    </a:lnTo>
                    <a:lnTo>
                      <a:pt x="926" y="439"/>
                    </a:lnTo>
                    <a:lnTo>
                      <a:pt x="920" y="398"/>
                    </a:lnTo>
                    <a:lnTo>
                      <a:pt x="937" y="358"/>
                    </a:lnTo>
                    <a:lnTo>
                      <a:pt x="990" y="334"/>
                    </a:lnTo>
                    <a:lnTo>
                      <a:pt x="1019" y="321"/>
                    </a:lnTo>
                    <a:lnTo>
                      <a:pt x="1017" y="292"/>
                    </a:lnTo>
                    <a:lnTo>
                      <a:pt x="978" y="272"/>
                    </a:lnTo>
                    <a:lnTo>
                      <a:pt x="963" y="243"/>
                    </a:lnTo>
                    <a:lnTo>
                      <a:pt x="916" y="204"/>
                    </a:lnTo>
                    <a:lnTo>
                      <a:pt x="916" y="183"/>
                    </a:lnTo>
                    <a:lnTo>
                      <a:pt x="917" y="154"/>
                    </a:lnTo>
                    <a:lnTo>
                      <a:pt x="884" y="144"/>
                    </a:lnTo>
                    <a:cubicBezTo>
                      <a:pt x="884" y="144"/>
                      <a:pt x="861" y="128"/>
                      <a:pt x="852" y="128"/>
                    </a:cubicBezTo>
                    <a:cubicBezTo>
                      <a:pt x="844" y="128"/>
                      <a:pt x="818" y="146"/>
                      <a:pt x="818" y="146"/>
                    </a:cubicBezTo>
                    <a:lnTo>
                      <a:pt x="788" y="146"/>
                    </a:lnTo>
                    <a:lnTo>
                      <a:pt x="725" y="88"/>
                    </a:lnTo>
                    <a:lnTo>
                      <a:pt x="693" y="83"/>
                    </a:lnTo>
                    <a:lnTo>
                      <a:pt x="637" y="102"/>
                    </a:lnTo>
                    <a:cubicBezTo>
                      <a:pt x="637" y="102"/>
                      <a:pt x="568" y="135"/>
                      <a:pt x="555" y="135"/>
                    </a:cubicBezTo>
                    <a:cubicBezTo>
                      <a:pt x="543" y="135"/>
                      <a:pt x="433" y="123"/>
                      <a:pt x="433" y="123"/>
                    </a:cubicBezTo>
                    <a:lnTo>
                      <a:pt x="381" y="79"/>
                    </a:lnTo>
                    <a:lnTo>
                      <a:pt x="339" y="67"/>
                    </a:lnTo>
                    <a:lnTo>
                      <a:pt x="312" y="83"/>
                    </a:lnTo>
                    <a:lnTo>
                      <a:pt x="284" y="70"/>
                    </a:lnTo>
                    <a:lnTo>
                      <a:pt x="220" y="0"/>
                    </a:lnTo>
                    <a:lnTo>
                      <a:pt x="178" y="4"/>
                    </a:lnTo>
                    <a:lnTo>
                      <a:pt x="111" y="23"/>
                    </a:lnTo>
                    <a:lnTo>
                      <a:pt x="33" y="58"/>
                    </a:lnTo>
                    <a:lnTo>
                      <a:pt x="0" y="74"/>
                    </a:lnTo>
                    <a:lnTo>
                      <a:pt x="1" y="87"/>
                    </a:lnTo>
                    <a:lnTo>
                      <a:pt x="6" y="134"/>
                    </a:lnTo>
                    <a:cubicBezTo>
                      <a:pt x="6" y="134"/>
                      <a:pt x="31" y="160"/>
                      <a:pt x="39" y="162"/>
                    </a:cubicBezTo>
                    <a:cubicBezTo>
                      <a:pt x="48" y="164"/>
                      <a:pt x="73" y="186"/>
                      <a:pt x="73" y="186"/>
                    </a:cubicBezTo>
                    <a:lnTo>
                      <a:pt x="102" y="234"/>
                    </a:lnTo>
                    <a:lnTo>
                      <a:pt x="125" y="265"/>
                    </a:lnTo>
                    <a:lnTo>
                      <a:pt x="129" y="311"/>
                    </a:lnTo>
                    <a:lnTo>
                      <a:pt x="139" y="326"/>
                    </a:lnTo>
                    <a:lnTo>
                      <a:pt x="197" y="337"/>
                    </a:lnTo>
                    <a:cubicBezTo>
                      <a:pt x="197" y="337"/>
                      <a:pt x="223" y="349"/>
                      <a:pt x="235" y="354"/>
                    </a:cubicBezTo>
                    <a:cubicBezTo>
                      <a:pt x="247" y="359"/>
                      <a:pt x="246" y="396"/>
                      <a:pt x="246" y="396"/>
                    </a:cubicBezTo>
                    <a:lnTo>
                      <a:pt x="277" y="398"/>
                    </a:lnTo>
                    <a:lnTo>
                      <a:pt x="298" y="426"/>
                    </a:lnTo>
                    <a:lnTo>
                      <a:pt x="359" y="491"/>
                    </a:lnTo>
                    <a:lnTo>
                      <a:pt x="366" y="538"/>
                    </a:lnTo>
                    <a:cubicBezTo>
                      <a:pt x="366" y="538"/>
                      <a:pt x="410" y="595"/>
                      <a:pt x="420" y="597"/>
                    </a:cubicBezTo>
                    <a:cubicBezTo>
                      <a:pt x="431" y="599"/>
                      <a:pt x="475" y="588"/>
                      <a:pt x="475" y="588"/>
                    </a:cubicBezTo>
                    <a:lnTo>
                      <a:pt x="539" y="573"/>
                    </a:lnTo>
                    <a:lnTo>
                      <a:pt x="553" y="553"/>
                    </a:lnTo>
                    <a:lnTo>
                      <a:pt x="580" y="543"/>
                    </a:lnTo>
                    <a:lnTo>
                      <a:pt x="599" y="557"/>
                    </a:lnTo>
                    <a:lnTo>
                      <a:pt x="625" y="569"/>
                    </a:lnTo>
                    <a:lnTo>
                      <a:pt x="653" y="555"/>
                    </a:lnTo>
                    <a:lnTo>
                      <a:pt x="684" y="557"/>
                    </a:lnTo>
                    <a:lnTo>
                      <a:pt x="700" y="547"/>
                    </a:lnTo>
                    <a:lnTo>
                      <a:pt x="742" y="550"/>
                    </a:lnTo>
                    <a:lnTo>
                      <a:pt x="842" y="550"/>
                    </a:lnTo>
                    <a:lnTo>
                      <a:pt x="877" y="561"/>
                    </a:lnTo>
                    <a:lnTo>
                      <a:pt x="894" y="56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190"/>
              <p:cNvSpPr>
                <a:spLocks/>
              </p:cNvSpPr>
              <p:nvPr/>
            </p:nvSpPr>
            <p:spPr bwMode="auto">
              <a:xfrm>
                <a:off x="4902766" y="5984851"/>
                <a:ext cx="79277" cy="113979"/>
              </a:xfrm>
              <a:custGeom>
                <a:avLst/>
                <a:gdLst>
                  <a:gd name="T0" fmla="*/ 2147483647 w 573"/>
                  <a:gd name="T1" fmla="*/ 2147483647 h 823"/>
                  <a:gd name="T2" fmla="*/ 2147483647 w 573"/>
                  <a:gd name="T3" fmla="*/ 2147483647 h 823"/>
                  <a:gd name="T4" fmla="*/ 2147483647 w 573"/>
                  <a:gd name="T5" fmla="*/ 2147483647 h 823"/>
                  <a:gd name="T6" fmla="*/ 2147483647 w 573"/>
                  <a:gd name="T7" fmla="*/ 2147483647 h 823"/>
                  <a:gd name="T8" fmla="*/ 2147483647 w 573"/>
                  <a:gd name="T9" fmla="*/ 2147483647 h 823"/>
                  <a:gd name="T10" fmla="*/ 2147483647 w 573"/>
                  <a:gd name="T11" fmla="*/ 2147483647 h 823"/>
                  <a:gd name="T12" fmla="*/ 2147483647 w 573"/>
                  <a:gd name="T13" fmla="*/ 2147483647 h 823"/>
                  <a:gd name="T14" fmla="*/ 2147483647 w 573"/>
                  <a:gd name="T15" fmla="*/ 2147483647 h 823"/>
                  <a:gd name="T16" fmla="*/ 2147483647 w 573"/>
                  <a:gd name="T17" fmla="*/ 2147483647 h 823"/>
                  <a:gd name="T18" fmla="*/ 2147483647 w 573"/>
                  <a:gd name="T19" fmla="*/ 2147483647 h 823"/>
                  <a:gd name="T20" fmla="*/ 2147483647 w 573"/>
                  <a:gd name="T21" fmla="*/ 2147483647 h 823"/>
                  <a:gd name="T22" fmla="*/ 2147483647 w 573"/>
                  <a:gd name="T23" fmla="*/ 2147483647 h 823"/>
                  <a:gd name="T24" fmla="*/ 2147483647 w 573"/>
                  <a:gd name="T25" fmla="*/ 2147483647 h 823"/>
                  <a:gd name="T26" fmla="*/ 2147483647 w 573"/>
                  <a:gd name="T27" fmla="*/ 2147483647 h 823"/>
                  <a:gd name="T28" fmla="*/ 2147483647 w 573"/>
                  <a:gd name="T29" fmla="*/ 2147483647 h 823"/>
                  <a:gd name="T30" fmla="*/ 2147483647 w 573"/>
                  <a:gd name="T31" fmla="*/ 2147483647 h 823"/>
                  <a:gd name="T32" fmla="*/ 2147483647 w 573"/>
                  <a:gd name="T33" fmla="*/ 2147483647 h 823"/>
                  <a:gd name="T34" fmla="*/ 2147483647 w 573"/>
                  <a:gd name="T35" fmla="*/ 2147483647 h 823"/>
                  <a:gd name="T36" fmla="*/ 2147483647 w 573"/>
                  <a:gd name="T37" fmla="*/ 2147483647 h 823"/>
                  <a:gd name="T38" fmla="*/ 2147483647 w 573"/>
                  <a:gd name="T39" fmla="*/ 2147483647 h 823"/>
                  <a:gd name="T40" fmla="*/ 2147483647 w 573"/>
                  <a:gd name="T41" fmla="*/ 2147483647 h 823"/>
                  <a:gd name="T42" fmla="*/ 2147483647 w 573"/>
                  <a:gd name="T43" fmla="*/ 2147483647 h 823"/>
                  <a:gd name="T44" fmla="*/ 2147483647 w 573"/>
                  <a:gd name="T45" fmla="*/ 2147483647 h 823"/>
                  <a:gd name="T46" fmla="*/ 2147483647 w 573"/>
                  <a:gd name="T47" fmla="*/ 2147483647 h 823"/>
                  <a:gd name="T48" fmla="*/ 2147483647 w 573"/>
                  <a:gd name="T49" fmla="*/ 2147483647 h 823"/>
                  <a:gd name="T50" fmla="*/ 2147483647 w 573"/>
                  <a:gd name="T51" fmla="*/ 2147483647 h 823"/>
                  <a:gd name="T52" fmla="*/ 2147483647 w 573"/>
                  <a:gd name="T53" fmla="*/ 2147483647 h 823"/>
                  <a:gd name="T54" fmla="*/ 2147483647 w 573"/>
                  <a:gd name="T55" fmla="*/ 2147483647 h 823"/>
                  <a:gd name="T56" fmla="*/ 2147483647 w 573"/>
                  <a:gd name="T57" fmla="*/ 2147483647 h 823"/>
                  <a:gd name="T58" fmla="*/ 2147483647 w 573"/>
                  <a:gd name="T59" fmla="*/ 2147483647 h 823"/>
                  <a:gd name="T60" fmla="*/ 2147483647 w 573"/>
                  <a:gd name="T61" fmla="*/ 2147483647 h 823"/>
                  <a:gd name="T62" fmla="*/ 2147483647 w 573"/>
                  <a:gd name="T63" fmla="*/ 2147483647 h 823"/>
                  <a:gd name="T64" fmla="*/ 2147483647 w 573"/>
                  <a:gd name="T65" fmla="*/ 2147483647 h 823"/>
                  <a:gd name="T66" fmla="*/ 0 w 573"/>
                  <a:gd name="T67" fmla="*/ 2147483647 h 823"/>
                  <a:gd name="T68" fmla="*/ 0 w 573"/>
                  <a:gd name="T69" fmla="*/ 2147483647 h 823"/>
                  <a:gd name="T70" fmla="*/ 2147483647 w 573"/>
                  <a:gd name="T71" fmla="*/ 2147483647 h 823"/>
                  <a:gd name="T72" fmla="*/ 2147483647 w 573"/>
                  <a:gd name="T73" fmla="*/ 2147483647 h 823"/>
                  <a:gd name="T74" fmla="*/ 2147483647 w 573"/>
                  <a:gd name="T75" fmla="*/ 2147483647 h 823"/>
                  <a:gd name="T76" fmla="*/ 2147483647 w 573"/>
                  <a:gd name="T77" fmla="*/ 2147483647 h 823"/>
                  <a:gd name="T78" fmla="*/ 2147483647 w 573"/>
                  <a:gd name="T79" fmla="*/ 2147483647 h 823"/>
                  <a:gd name="T80" fmla="*/ 2147483647 w 573"/>
                  <a:gd name="T81" fmla="*/ 2147483647 h 823"/>
                  <a:gd name="T82" fmla="*/ 2147483647 w 573"/>
                  <a:gd name="T83" fmla="*/ 2147483647 h 823"/>
                  <a:gd name="T84" fmla="*/ 2147483647 w 573"/>
                  <a:gd name="T85" fmla="*/ 2147483647 h 823"/>
                  <a:gd name="T86" fmla="*/ 2147483647 w 573"/>
                  <a:gd name="T87" fmla="*/ 2147483647 h 823"/>
                  <a:gd name="T88" fmla="*/ 2147483647 w 573"/>
                  <a:gd name="T89" fmla="*/ 2147483647 h 823"/>
                  <a:gd name="T90" fmla="*/ 2147483647 w 573"/>
                  <a:gd name="T91" fmla="*/ 2147483647 h 823"/>
                  <a:gd name="T92" fmla="*/ 2147483647 w 573"/>
                  <a:gd name="T93" fmla="*/ 2147483647 h 823"/>
                  <a:gd name="T94" fmla="*/ 2147483647 w 573"/>
                  <a:gd name="T95" fmla="*/ 2147483647 h 823"/>
                  <a:gd name="T96" fmla="*/ 2147483647 w 573"/>
                  <a:gd name="T97" fmla="*/ 2147483647 h 823"/>
                  <a:gd name="T98" fmla="*/ 2147483647 w 573"/>
                  <a:gd name="T99" fmla="*/ 2147483647 h 823"/>
                  <a:gd name="T100" fmla="*/ 2147483647 w 573"/>
                  <a:gd name="T101" fmla="*/ 2147483647 h 823"/>
                  <a:gd name="T102" fmla="*/ 2147483647 w 573"/>
                  <a:gd name="T103" fmla="*/ 2147483647 h 823"/>
                  <a:gd name="T104" fmla="*/ 2147483647 w 573"/>
                  <a:gd name="T105" fmla="*/ 2147483647 h 823"/>
                  <a:gd name="T106" fmla="*/ 2147483647 w 573"/>
                  <a:gd name="T107" fmla="*/ 2147483647 h 823"/>
                  <a:gd name="T108" fmla="*/ 2147483647 w 573"/>
                  <a:gd name="T109" fmla="*/ 2147483647 h 823"/>
                  <a:gd name="T110" fmla="*/ 2147483647 w 573"/>
                  <a:gd name="T111" fmla="*/ 0 h 823"/>
                  <a:gd name="T112" fmla="*/ 2147483647 w 573"/>
                  <a:gd name="T113" fmla="*/ 2147483647 h 823"/>
                  <a:gd name="T114" fmla="*/ 2147483647 w 573"/>
                  <a:gd name="T115" fmla="*/ 2147483647 h 823"/>
                  <a:gd name="T116" fmla="*/ 2147483647 w 573"/>
                  <a:gd name="T117" fmla="*/ 2147483647 h 823"/>
                  <a:gd name="T118" fmla="*/ 2147483647 w 573"/>
                  <a:gd name="T119" fmla="*/ 2147483647 h 823"/>
                  <a:gd name="T120" fmla="*/ 2147483647 w 573"/>
                  <a:gd name="T121" fmla="*/ 2147483647 h 82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573" h="823">
                    <a:moveTo>
                      <a:pt x="495" y="64"/>
                    </a:moveTo>
                    <a:lnTo>
                      <a:pt x="507" y="100"/>
                    </a:lnTo>
                    <a:lnTo>
                      <a:pt x="519" y="162"/>
                    </a:lnTo>
                    <a:lnTo>
                      <a:pt x="534" y="201"/>
                    </a:lnTo>
                    <a:lnTo>
                      <a:pt x="521" y="252"/>
                    </a:lnTo>
                    <a:lnTo>
                      <a:pt x="497" y="281"/>
                    </a:lnTo>
                    <a:lnTo>
                      <a:pt x="497" y="312"/>
                    </a:lnTo>
                    <a:lnTo>
                      <a:pt x="521" y="343"/>
                    </a:lnTo>
                    <a:lnTo>
                      <a:pt x="517" y="372"/>
                    </a:lnTo>
                    <a:lnTo>
                      <a:pt x="507" y="422"/>
                    </a:lnTo>
                    <a:lnTo>
                      <a:pt x="486" y="451"/>
                    </a:lnTo>
                    <a:lnTo>
                      <a:pt x="499" y="481"/>
                    </a:lnTo>
                    <a:lnTo>
                      <a:pt x="534" y="496"/>
                    </a:lnTo>
                    <a:lnTo>
                      <a:pt x="523" y="531"/>
                    </a:lnTo>
                    <a:lnTo>
                      <a:pt x="530" y="574"/>
                    </a:lnTo>
                    <a:lnTo>
                      <a:pt x="519" y="601"/>
                    </a:lnTo>
                    <a:lnTo>
                      <a:pt x="480" y="626"/>
                    </a:lnTo>
                    <a:lnTo>
                      <a:pt x="474" y="665"/>
                    </a:lnTo>
                    <a:lnTo>
                      <a:pt x="490" y="709"/>
                    </a:lnTo>
                    <a:lnTo>
                      <a:pt x="530" y="735"/>
                    </a:lnTo>
                    <a:lnTo>
                      <a:pt x="573" y="750"/>
                    </a:lnTo>
                    <a:lnTo>
                      <a:pt x="573" y="791"/>
                    </a:lnTo>
                    <a:lnTo>
                      <a:pt x="551" y="823"/>
                    </a:lnTo>
                    <a:cubicBezTo>
                      <a:pt x="551" y="823"/>
                      <a:pt x="544" y="795"/>
                      <a:pt x="533" y="792"/>
                    </a:cubicBezTo>
                    <a:cubicBezTo>
                      <a:pt x="523" y="788"/>
                      <a:pt x="470" y="787"/>
                      <a:pt x="470" y="787"/>
                    </a:cubicBezTo>
                    <a:lnTo>
                      <a:pt x="415" y="785"/>
                    </a:lnTo>
                    <a:lnTo>
                      <a:pt x="374" y="755"/>
                    </a:lnTo>
                    <a:cubicBezTo>
                      <a:pt x="374" y="755"/>
                      <a:pt x="308" y="748"/>
                      <a:pt x="296" y="747"/>
                    </a:cubicBezTo>
                    <a:cubicBezTo>
                      <a:pt x="283" y="745"/>
                      <a:pt x="212" y="703"/>
                      <a:pt x="203" y="703"/>
                    </a:cubicBezTo>
                    <a:cubicBezTo>
                      <a:pt x="194" y="703"/>
                      <a:pt x="177" y="694"/>
                      <a:pt x="177" y="694"/>
                    </a:cubicBezTo>
                    <a:lnTo>
                      <a:pt x="168" y="666"/>
                    </a:lnTo>
                    <a:lnTo>
                      <a:pt x="63" y="577"/>
                    </a:lnTo>
                    <a:lnTo>
                      <a:pt x="18" y="526"/>
                    </a:lnTo>
                    <a:lnTo>
                      <a:pt x="0" y="525"/>
                    </a:lnTo>
                    <a:lnTo>
                      <a:pt x="3" y="504"/>
                    </a:lnTo>
                    <a:lnTo>
                      <a:pt x="28" y="490"/>
                    </a:lnTo>
                    <a:lnTo>
                      <a:pt x="24" y="457"/>
                    </a:lnTo>
                    <a:lnTo>
                      <a:pt x="42" y="432"/>
                    </a:lnTo>
                    <a:lnTo>
                      <a:pt x="32" y="403"/>
                    </a:lnTo>
                    <a:lnTo>
                      <a:pt x="26" y="362"/>
                    </a:lnTo>
                    <a:lnTo>
                      <a:pt x="43" y="322"/>
                    </a:lnTo>
                    <a:lnTo>
                      <a:pt x="96" y="298"/>
                    </a:lnTo>
                    <a:lnTo>
                      <a:pt x="125" y="285"/>
                    </a:lnTo>
                    <a:lnTo>
                      <a:pt x="123" y="256"/>
                    </a:lnTo>
                    <a:lnTo>
                      <a:pt x="84" y="236"/>
                    </a:lnTo>
                    <a:lnTo>
                      <a:pt x="69" y="207"/>
                    </a:lnTo>
                    <a:lnTo>
                      <a:pt x="22" y="168"/>
                    </a:lnTo>
                    <a:lnTo>
                      <a:pt x="22" y="147"/>
                    </a:lnTo>
                    <a:lnTo>
                      <a:pt x="23" y="118"/>
                    </a:lnTo>
                    <a:lnTo>
                      <a:pt x="99" y="116"/>
                    </a:lnTo>
                    <a:lnTo>
                      <a:pt x="162" y="123"/>
                    </a:lnTo>
                    <a:lnTo>
                      <a:pt x="208" y="115"/>
                    </a:lnTo>
                    <a:lnTo>
                      <a:pt x="274" y="62"/>
                    </a:lnTo>
                    <a:lnTo>
                      <a:pt x="334" y="59"/>
                    </a:lnTo>
                    <a:lnTo>
                      <a:pt x="362" y="28"/>
                    </a:lnTo>
                    <a:cubicBezTo>
                      <a:pt x="362" y="28"/>
                      <a:pt x="370" y="0"/>
                      <a:pt x="382" y="0"/>
                    </a:cubicBezTo>
                    <a:cubicBezTo>
                      <a:pt x="393" y="0"/>
                      <a:pt x="396" y="20"/>
                      <a:pt x="396" y="20"/>
                    </a:cubicBezTo>
                    <a:lnTo>
                      <a:pt x="417" y="25"/>
                    </a:lnTo>
                    <a:lnTo>
                      <a:pt x="446" y="46"/>
                    </a:lnTo>
                    <a:lnTo>
                      <a:pt x="480" y="68"/>
                    </a:lnTo>
                    <a:lnTo>
                      <a:pt x="495" y="64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191"/>
              <p:cNvSpPr>
                <a:spLocks/>
              </p:cNvSpPr>
              <p:nvPr/>
            </p:nvSpPr>
            <p:spPr bwMode="auto">
              <a:xfrm>
                <a:off x="4952314" y="5898954"/>
                <a:ext cx="153600" cy="155276"/>
              </a:xfrm>
              <a:custGeom>
                <a:avLst/>
                <a:gdLst>
                  <a:gd name="T0" fmla="*/ 2147483647 w 1101"/>
                  <a:gd name="T1" fmla="*/ 2147483647 h 1105"/>
                  <a:gd name="T2" fmla="*/ 2147483647 w 1101"/>
                  <a:gd name="T3" fmla="*/ 2147483647 h 1105"/>
                  <a:gd name="T4" fmla="*/ 2147483647 w 1101"/>
                  <a:gd name="T5" fmla="*/ 2147483647 h 1105"/>
                  <a:gd name="T6" fmla="*/ 2147483647 w 1101"/>
                  <a:gd name="T7" fmla="*/ 2147483647 h 1105"/>
                  <a:gd name="T8" fmla="*/ 2147483647 w 1101"/>
                  <a:gd name="T9" fmla="*/ 2147483647 h 1105"/>
                  <a:gd name="T10" fmla="*/ 2147483647 w 1101"/>
                  <a:gd name="T11" fmla="*/ 2147483647 h 1105"/>
                  <a:gd name="T12" fmla="*/ 2147483647 w 1101"/>
                  <a:gd name="T13" fmla="*/ 2147483647 h 1105"/>
                  <a:gd name="T14" fmla="*/ 2147483647 w 1101"/>
                  <a:gd name="T15" fmla="*/ 2147483647 h 1105"/>
                  <a:gd name="T16" fmla="*/ 2147483647 w 1101"/>
                  <a:gd name="T17" fmla="*/ 2147483647 h 1105"/>
                  <a:gd name="T18" fmla="*/ 2147483647 w 1101"/>
                  <a:gd name="T19" fmla="*/ 2147483647 h 1105"/>
                  <a:gd name="T20" fmla="*/ 2147483647 w 1101"/>
                  <a:gd name="T21" fmla="*/ 2147483647 h 1105"/>
                  <a:gd name="T22" fmla="*/ 2147483647 w 1101"/>
                  <a:gd name="T23" fmla="*/ 2147483647 h 1105"/>
                  <a:gd name="T24" fmla="*/ 2147483647 w 1101"/>
                  <a:gd name="T25" fmla="*/ 2147483647 h 1105"/>
                  <a:gd name="T26" fmla="*/ 2147483647 w 1101"/>
                  <a:gd name="T27" fmla="*/ 2147483647 h 1105"/>
                  <a:gd name="T28" fmla="*/ 2147483647 w 1101"/>
                  <a:gd name="T29" fmla="*/ 2147483647 h 1105"/>
                  <a:gd name="T30" fmla="*/ 2147483647 w 1101"/>
                  <a:gd name="T31" fmla="*/ 2147483647 h 1105"/>
                  <a:gd name="T32" fmla="*/ 2147483647 w 1101"/>
                  <a:gd name="T33" fmla="*/ 2147483647 h 1105"/>
                  <a:gd name="T34" fmla="*/ 2147483647 w 1101"/>
                  <a:gd name="T35" fmla="*/ 2147483647 h 1105"/>
                  <a:gd name="T36" fmla="*/ 2147483647 w 1101"/>
                  <a:gd name="T37" fmla="*/ 2147483647 h 1105"/>
                  <a:gd name="T38" fmla="*/ 2147483647 w 1101"/>
                  <a:gd name="T39" fmla="*/ 2147483647 h 1105"/>
                  <a:gd name="T40" fmla="*/ 2147483647 w 1101"/>
                  <a:gd name="T41" fmla="*/ 2147483647 h 1105"/>
                  <a:gd name="T42" fmla="*/ 2147483647 w 1101"/>
                  <a:gd name="T43" fmla="*/ 2147483647 h 1105"/>
                  <a:gd name="T44" fmla="*/ 2147483647 w 1101"/>
                  <a:gd name="T45" fmla="*/ 2147483647 h 1105"/>
                  <a:gd name="T46" fmla="*/ 2147483647 w 1101"/>
                  <a:gd name="T47" fmla="*/ 2147483647 h 1105"/>
                  <a:gd name="T48" fmla="*/ 2147483647 w 1101"/>
                  <a:gd name="T49" fmla="*/ 2147483647 h 1105"/>
                  <a:gd name="T50" fmla="*/ 2147483647 w 1101"/>
                  <a:gd name="T51" fmla="*/ 2147483647 h 1105"/>
                  <a:gd name="T52" fmla="*/ 2147483647 w 1101"/>
                  <a:gd name="T53" fmla="*/ 2147483647 h 1105"/>
                  <a:gd name="T54" fmla="*/ 2147483647 w 1101"/>
                  <a:gd name="T55" fmla="*/ 2147483647 h 1105"/>
                  <a:gd name="T56" fmla="*/ 2147483647 w 1101"/>
                  <a:gd name="T57" fmla="*/ 2147483647 h 1105"/>
                  <a:gd name="T58" fmla="*/ 2147483647 w 1101"/>
                  <a:gd name="T59" fmla="*/ 2147483647 h 1105"/>
                  <a:gd name="T60" fmla="*/ 2147483647 w 1101"/>
                  <a:gd name="T61" fmla="*/ 2147483647 h 1105"/>
                  <a:gd name="T62" fmla="*/ 2147483647 w 1101"/>
                  <a:gd name="T63" fmla="*/ 2147483647 h 1105"/>
                  <a:gd name="T64" fmla="*/ 0 w 1101"/>
                  <a:gd name="T65" fmla="*/ 2147483647 h 1105"/>
                  <a:gd name="T66" fmla="*/ 2147483647 w 1101"/>
                  <a:gd name="T67" fmla="*/ 2147483647 h 1105"/>
                  <a:gd name="T68" fmla="*/ 2147483647 w 1101"/>
                  <a:gd name="T69" fmla="*/ 2147483647 h 1105"/>
                  <a:gd name="T70" fmla="*/ 2147483647 w 1101"/>
                  <a:gd name="T71" fmla="*/ 2147483647 h 1105"/>
                  <a:gd name="T72" fmla="*/ 2147483647 w 1101"/>
                  <a:gd name="T73" fmla="*/ 2147483647 h 1105"/>
                  <a:gd name="T74" fmla="*/ 2147483647 w 1101"/>
                  <a:gd name="T75" fmla="*/ 2147483647 h 1105"/>
                  <a:gd name="T76" fmla="*/ 2147483647 w 1101"/>
                  <a:gd name="T77" fmla="*/ 2147483647 h 1105"/>
                  <a:gd name="T78" fmla="*/ 2147483647 w 1101"/>
                  <a:gd name="T79" fmla="*/ 2147483647 h 1105"/>
                  <a:gd name="T80" fmla="*/ 2147483647 w 1101"/>
                  <a:gd name="T81" fmla="*/ 2147483647 h 1105"/>
                  <a:gd name="T82" fmla="*/ 2147483647 w 1101"/>
                  <a:gd name="T83" fmla="*/ 2147483647 h 1105"/>
                  <a:gd name="T84" fmla="*/ 2147483647 w 1101"/>
                  <a:gd name="T85" fmla="*/ 2147483647 h 1105"/>
                  <a:gd name="T86" fmla="*/ 2147483647 w 1101"/>
                  <a:gd name="T87" fmla="*/ 2147483647 h 1105"/>
                  <a:gd name="T88" fmla="*/ 2147483647 w 1101"/>
                  <a:gd name="T89" fmla="*/ 2147483647 h 1105"/>
                  <a:gd name="T90" fmla="*/ 2147483647 w 1101"/>
                  <a:gd name="T91" fmla="*/ 0 h 1105"/>
                  <a:gd name="T92" fmla="*/ 2147483647 w 1101"/>
                  <a:gd name="T93" fmla="*/ 2147483647 h 1105"/>
                  <a:gd name="T94" fmla="*/ 2147483647 w 1101"/>
                  <a:gd name="T95" fmla="*/ 2147483647 h 1105"/>
                  <a:gd name="T96" fmla="*/ 2147483647 w 1101"/>
                  <a:gd name="T97" fmla="*/ 2147483647 h 110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101" h="1105">
                    <a:moveTo>
                      <a:pt x="1079" y="241"/>
                    </a:moveTo>
                    <a:lnTo>
                      <a:pt x="1076" y="305"/>
                    </a:lnTo>
                    <a:lnTo>
                      <a:pt x="1041" y="333"/>
                    </a:lnTo>
                    <a:lnTo>
                      <a:pt x="1008" y="337"/>
                    </a:lnTo>
                    <a:lnTo>
                      <a:pt x="996" y="370"/>
                    </a:lnTo>
                    <a:lnTo>
                      <a:pt x="982" y="400"/>
                    </a:lnTo>
                    <a:lnTo>
                      <a:pt x="926" y="430"/>
                    </a:lnTo>
                    <a:lnTo>
                      <a:pt x="924" y="472"/>
                    </a:lnTo>
                    <a:lnTo>
                      <a:pt x="952" y="505"/>
                    </a:lnTo>
                    <a:lnTo>
                      <a:pt x="950" y="552"/>
                    </a:lnTo>
                    <a:lnTo>
                      <a:pt x="938" y="587"/>
                    </a:lnTo>
                    <a:lnTo>
                      <a:pt x="912" y="626"/>
                    </a:lnTo>
                    <a:lnTo>
                      <a:pt x="915" y="671"/>
                    </a:lnTo>
                    <a:cubicBezTo>
                      <a:pt x="891" y="675"/>
                      <a:pt x="863" y="733"/>
                      <a:pt x="863" y="733"/>
                    </a:cubicBezTo>
                    <a:lnTo>
                      <a:pt x="849" y="773"/>
                    </a:lnTo>
                    <a:lnTo>
                      <a:pt x="812" y="794"/>
                    </a:lnTo>
                    <a:lnTo>
                      <a:pt x="773" y="820"/>
                    </a:lnTo>
                    <a:lnTo>
                      <a:pt x="768" y="869"/>
                    </a:lnTo>
                    <a:lnTo>
                      <a:pt x="735" y="899"/>
                    </a:lnTo>
                    <a:lnTo>
                      <a:pt x="714" y="930"/>
                    </a:lnTo>
                    <a:lnTo>
                      <a:pt x="713" y="928"/>
                    </a:lnTo>
                    <a:lnTo>
                      <a:pt x="639" y="932"/>
                    </a:lnTo>
                    <a:lnTo>
                      <a:pt x="588" y="973"/>
                    </a:lnTo>
                    <a:lnTo>
                      <a:pt x="530" y="1002"/>
                    </a:lnTo>
                    <a:lnTo>
                      <a:pt x="500" y="990"/>
                    </a:lnTo>
                    <a:lnTo>
                      <a:pt x="481" y="964"/>
                    </a:lnTo>
                    <a:lnTo>
                      <a:pt x="435" y="969"/>
                    </a:lnTo>
                    <a:lnTo>
                      <a:pt x="381" y="999"/>
                    </a:lnTo>
                    <a:lnTo>
                      <a:pt x="372" y="1032"/>
                    </a:lnTo>
                    <a:lnTo>
                      <a:pt x="316" y="1074"/>
                    </a:lnTo>
                    <a:lnTo>
                      <a:pt x="271" y="1069"/>
                    </a:lnTo>
                    <a:lnTo>
                      <a:pt x="222" y="1055"/>
                    </a:lnTo>
                    <a:lnTo>
                      <a:pt x="197" y="1071"/>
                    </a:lnTo>
                    <a:lnTo>
                      <a:pt x="183" y="1105"/>
                    </a:lnTo>
                    <a:lnTo>
                      <a:pt x="179" y="1103"/>
                    </a:lnTo>
                    <a:lnTo>
                      <a:pt x="144" y="1088"/>
                    </a:lnTo>
                    <a:lnTo>
                      <a:pt x="131" y="1058"/>
                    </a:lnTo>
                    <a:lnTo>
                      <a:pt x="152" y="1029"/>
                    </a:lnTo>
                    <a:lnTo>
                      <a:pt x="162" y="979"/>
                    </a:lnTo>
                    <a:lnTo>
                      <a:pt x="166" y="950"/>
                    </a:lnTo>
                    <a:lnTo>
                      <a:pt x="142" y="919"/>
                    </a:lnTo>
                    <a:lnTo>
                      <a:pt x="142" y="888"/>
                    </a:lnTo>
                    <a:lnTo>
                      <a:pt x="166" y="859"/>
                    </a:lnTo>
                    <a:lnTo>
                      <a:pt x="179" y="808"/>
                    </a:lnTo>
                    <a:lnTo>
                      <a:pt x="164" y="769"/>
                    </a:lnTo>
                    <a:lnTo>
                      <a:pt x="152" y="707"/>
                    </a:lnTo>
                    <a:lnTo>
                      <a:pt x="140" y="671"/>
                    </a:lnTo>
                    <a:lnTo>
                      <a:pt x="146" y="662"/>
                    </a:lnTo>
                    <a:lnTo>
                      <a:pt x="161" y="631"/>
                    </a:lnTo>
                    <a:lnTo>
                      <a:pt x="155" y="554"/>
                    </a:lnTo>
                    <a:lnTo>
                      <a:pt x="136" y="536"/>
                    </a:lnTo>
                    <a:lnTo>
                      <a:pt x="118" y="518"/>
                    </a:lnTo>
                    <a:lnTo>
                      <a:pt x="119" y="487"/>
                    </a:lnTo>
                    <a:lnTo>
                      <a:pt x="112" y="462"/>
                    </a:lnTo>
                    <a:lnTo>
                      <a:pt x="97" y="425"/>
                    </a:lnTo>
                    <a:lnTo>
                      <a:pt x="92" y="399"/>
                    </a:lnTo>
                    <a:lnTo>
                      <a:pt x="94" y="360"/>
                    </a:lnTo>
                    <a:cubicBezTo>
                      <a:pt x="94" y="360"/>
                      <a:pt x="94" y="341"/>
                      <a:pt x="90" y="333"/>
                    </a:cubicBezTo>
                    <a:cubicBezTo>
                      <a:pt x="85" y="325"/>
                      <a:pt x="69" y="329"/>
                      <a:pt x="69" y="329"/>
                    </a:cubicBezTo>
                    <a:lnTo>
                      <a:pt x="49" y="312"/>
                    </a:lnTo>
                    <a:lnTo>
                      <a:pt x="49" y="264"/>
                    </a:lnTo>
                    <a:lnTo>
                      <a:pt x="29" y="248"/>
                    </a:lnTo>
                    <a:lnTo>
                      <a:pt x="0" y="232"/>
                    </a:lnTo>
                    <a:lnTo>
                      <a:pt x="0" y="213"/>
                    </a:lnTo>
                    <a:lnTo>
                      <a:pt x="37" y="213"/>
                    </a:lnTo>
                    <a:lnTo>
                      <a:pt x="59" y="237"/>
                    </a:lnTo>
                    <a:lnTo>
                      <a:pt x="92" y="244"/>
                    </a:lnTo>
                    <a:lnTo>
                      <a:pt x="132" y="237"/>
                    </a:lnTo>
                    <a:lnTo>
                      <a:pt x="173" y="237"/>
                    </a:lnTo>
                    <a:lnTo>
                      <a:pt x="199" y="270"/>
                    </a:lnTo>
                    <a:lnTo>
                      <a:pt x="241" y="270"/>
                    </a:lnTo>
                    <a:lnTo>
                      <a:pt x="289" y="309"/>
                    </a:lnTo>
                    <a:lnTo>
                      <a:pt x="327" y="309"/>
                    </a:lnTo>
                    <a:lnTo>
                      <a:pt x="358" y="308"/>
                    </a:lnTo>
                    <a:lnTo>
                      <a:pt x="382" y="330"/>
                    </a:lnTo>
                    <a:lnTo>
                      <a:pt x="412" y="323"/>
                    </a:lnTo>
                    <a:lnTo>
                      <a:pt x="439" y="271"/>
                    </a:lnTo>
                    <a:lnTo>
                      <a:pt x="489" y="261"/>
                    </a:lnTo>
                    <a:cubicBezTo>
                      <a:pt x="489" y="261"/>
                      <a:pt x="527" y="268"/>
                      <a:pt x="543" y="268"/>
                    </a:cubicBezTo>
                    <a:cubicBezTo>
                      <a:pt x="559" y="268"/>
                      <a:pt x="576" y="273"/>
                      <a:pt x="614" y="254"/>
                    </a:cubicBezTo>
                    <a:cubicBezTo>
                      <a:pt x="652" y="235"/>
                      <a:pt x="628" y="227"/>
                      <a:pt x="659" y="216"/>
                    </a:cubicBezTo>
                    <a:cubicBezTo>
                      <a:pt x="690" y="206"/>
                      <a:pt x="697" y="237"/>
                      <a:pt x="714" y="233"/>
                    </a:cubicBezTo>
                    <a:cubicBezTo>
                      <a:pt x="731" y="230"/>
                      <a:pt x="787" y="175"/>
                      <a:pt x="787" y="175"/>
                    </a:cubicBezTo>
                    <a:lnTo>
                      <a:pt x="818" y="166"/>
                    </a:lnTo>
                    <a:cubicBezTo>
                      <a:pt x="818" y="166"/>
                      <a:pt x="849" y="145"/>
                      <a:pt x="878" y="128"/>
                    </a:cubicBezTo>
                    <a:cubicBezTo>
                      <a:pt x="908" y="111"/>
                      <a:pt x="975" y="81"/>
                      <a:pt x="975" y="81"/>
                    </a:cubicBezTo>
                    <a:lnTo>
                      <a:pt x="1032" y="47"/>
                    </a:lnTo>
                    <a:lnTo>
                      <a:pt x="1051" y="19"/>
                    </a:lnTo>
                    <a:lnTo>
                      <a:pt x="1083" y="0"/>
                    </a:lnTo>
                    <a:lnTo>
                      <a:pt x="1101" y="56"/>
                    </a:lnTo>
                    <a:lnTo>
                      <a:pt x="1096" y="102"/>
                    </a:lnTo>
                    <a:lnTo>
                      <a:pt x="1098" y="152"/>
                    </a:lnTo>
                    <a:lnTo>
                      <a:pt x="1077" y="186"/>
                    </a:lnTo>
                    <a:lnTo>
                      <a:pt x="1079" y="24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192"/>
              <p:cNvSpPr>
                <a:spLocks/>
              </p:cNvSpPr>
              <p:nvPr/>
            </p:nvSpPr>
            <p:spPr bwMode="auto">
              <a:xfrm>
                <a:off x="4968830" y="6029452"/>
                <a:ext cx="105703" cy="80942"/>
              </a:xfrm>
              <a:custGeom>
                <a:avLst/>
                <a:gdLst>
                  <a:gd name="T0" fmla="*/ 2147483647 w 755"/>
                  <a:gd name="T1" fmla="*/ 2147483647 h 578"/>
                  <a:gd name="T2" fmla="*/ 2147483647 w 755"/>
                  <a:gd name="T3" fmla="*/ 2147483647 h 578"/>
                  <a:gd name="T4" fmla="*/ 2147483647 w 755"/>
                  <a:gd name="T5" fmla="*/ 2147483647 h 578"/>
                  <a:gd name="T6" fmla="*/ 2147483647 w 755"/>
                  <a:gd name="T7" fmla="*/ 2147483647 h 578"/>
                  <a:gd name="T8" fmla="*/ 2147483647 w 755"/>
                  <a:gd name="T9" fmla="*/ 2147483647 h 578"/>
                  <a:gd name="T10" fmla="*/ 2147483647 w 755"/>
                  <a:gd name="T11" fmla="*/ 2147483647 h 578"/>
                  <a:gd name="T12" fmla="*/ 2147483647 w 755"/>
                  <a:gd name="T13" fmla="*/ 2147483647 h 578"/>
                  <a:gd name="T14" fmla="*/ 2147483647 w 755"/>
                  <a:gd name="T15" fmla="*/ 2147483647 h 578"/>
                  <a:gd name="T16" fmla="*/ 2147483647 w 755"/>
                  <a:gd name="T17" fmla="*/ 0 h 578"/>
                  <a:gd name="T18" fmla="*/ 2147483647 w 755"/>
                  <a:gd name="T19" fmla="*/ 0 h 578"/>
                  <a:gd name="T20" fmla="*/ 2147483647 w 755"/>
                  <a:gd name="T21" fmla="*/ 2147483647 h 578"/>
                  <a:gd name="T22" fmla="*/ 2147483647 w 755"/>
                  <a:gd name="T23" fmla="*/ 2147483647 h 578"/>
                  <a:gd name="T24" fmla="*/ 2147483647 w 755"/>
                  <a:gd name="T25" fmla="*/ 2147483647 h 578"/>
                  <a:gd name="T26" fmla="*/ 2147483647 w 755"/>
                  <a:gd name="T27" fmla="*/ 2147483647 h 578"/>
                  <a:gd name="T28" fmla="*/ 2147483647 w 755"/>
                  <a:gd name="T29" fmla="*/ 2147483647 h 578"/>
                  <a:gd name="T30" fmla="*/ 2147483647 w 755"/>
                  <a:gd name="T31" fmla="*/ 2147483647 h 578"/>
                  <a:gd name="T32" fmla="*/ 2147483647 w 755"/>
                  <a:gd name="T33" fmla="*/ 2147483647 h 578"/>
                  <a:gd name="T34" fmla="*/ 2147483647 w 755"/>
                  <a:gd name="T35" fmla="*/ 2147483647 h 578"/>
                  <a:gd name="T36" fmla="*/ 2147483647 w 755"/>
                  <a:gd name="T37" fmla="*/ 2147483647 h 578"/>
                  <a:gd name="T38" fmla="*/ 2147483647 w 755"/>
                  <a:gd name="T39" fmla="*/ 2147483647 h 578"/>
                  <a:gd name="T40" fmla="*/ 2147483647 w 755"/>
                  <a:gd name="T41" fmla="*/ 2147483647 h 578"/>
                  <a:gd name="T42" fmla="*/ 2147483647 w 755"/>
                  <a:gd name="T43" fmla="*/ 2147483647 h 578"/>
                  <a:gd name="T44" fmla="*/ 2147483647 w 755"/>
                  <a:gd name="T45" fmla="*/ 2147483647 h 578"/>
                  <a:gd name="T46" fmla="*/ 2147483647 w 755"/>
                  <a:gd name="T47" fmla="*/ 2147483647 h 578"/>
                  <a:gd name="T48" fmla="*/ 2147483647 w 755"/>
                  <a:gd name="T49" fmla="*/ 2147483647 h 578"/>
                  <a:gd name="T50" fmla="*/ 2147483647 w 755"/>
                  <a:gd name="T51" fmla="*/ 2147483647 h 578"/>
                  <a:gd name="T52" fmla="*/ 2147483647 w 755"/>
                  <a:gd name="T53" fmla="*/ 2147483647 h 578"/>
                  <a:gd name="T54" fmla="*/ 0 w 755"/>
                  <a:gd name="T55" fmla="*/ 2147483647 h 578"/>
                  <a:gd name="T56" fmla="*/ 2147483647 w 755"/>
                  <a:gd name="T57" fmla="*/ 2147483647 h 578"/>
                  <a:gd name="T58" fmla="*/ 2147483647 w 755"/>
                  <a:gd name="T59" fmla="*/ 2147483647 h 578"/>
                  <a:gd name="T60" fmla="*/ 2147483647 w 755"/>
                  <a:gd name="T61" fmla="*/ 2147483647 h 578"/>
                  <a:gd name="T62" fmla="*/ 2147483647 w 755"/>
                  <a:gd name="T63" fmla="*/ 2147483647 h 578"/>
                  <a:gd name="T64" fmla="*/ 2147483647 w 755"/>
                  <a:gd name="T65" fmla="*/ 2147483647 h 578"/>
                  <a:gd name="T66" fmla="*/ 2147483647 w 755"/>
                  <a:gd name="T67" fmla="*/ 2147483647 h 578"/>
                  <a:gd name="T68" fmla="*/ 2147483647 w 755"/>
                  <a:gd name="T69" fmla="*/ 2147483647 h 578"/>
                  <a:gd name="T70" fmla="*/ 2147483647 w 755"/>
                  <a:gd name="T71" fmla="*/ 2147483647 h 578"/>
                  <a:gd name="T72" fmla="*/ 2147483647 w 755"/>
                  <a:gd name="T73" fmla="*/ 2147483647 h 578"/>
                  <a:gd name="T74" fmla="*/ 2147483647 w 755"/>
                  <a:gd name="T75" fmla="*/ 2147483647 h 578"/>
                  <a:gd name="T76" fmla="*/ 2147483647 w 755"/>
                  <a:gd name="T77" fmla="*/ 2147483647 h 578"/>
                  <a:gd name="T78" fmla="*/ 2147483647 w 755"/>
                  <a:gd name="T79" fmla="*/ 2147483647 h 578"/>
                  <a:gd name="T80" fmla="*/ 2147483647 w 755"/>
                  <a:gd name="T81" fmla="*/ 2147483647 h 578"/>
                  <a:gd name="T82" fmla="*/ 2147483647 w 755"/>
                  <a:gd name="T83" fmla="*/ 2147483647 h 578"/>
                  <a:gd name="T84" fmla="*/ 2147483647 w 755"/>
                  <a:gd name="T85" fmla="*/ 2147483647 h 578"/>
                  <a:gd name="T86" fmla="*/ 2147483647 w 755"/>
                  <a:gd name="T87" fmla="*/ 2147483647 h 578"/>
                  <a:gd name="T88" fmla="*/ 2147483647 w 755"/>
                  <a:gd name="T89" fmla="*/ 2147483647 h 578"/>
                  <a:gd name="T90" fmla="*/ 2147483647 w 755"/>
                  <a:gd name="T91" fmla="*/ 2147483647 h 578"/>
                  <a:gd name="T92" fmla="*/ 2147483647 w 755"/>
                  <a:gd name="T93" fmla="*/ 2147483647 h 578"/>
                  <a:gd name="T94" fmla="*/ 2147483647 w 755"/>
                  <a:gd name="T95" fmla="*/ 2147483647 h 578"/>
                  <a:gd name="T96" fmla="*/ 2147483647 w 755"/>
                  <a:gd name="T97" fmla="*/ 2147483647 h 578"/>
                  <a:gd name="T98" fmla="*/ 2147483647 w 755"/>
                  <a:gd name="T99" fmla="*/ 2147483647 h 57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755" h="578">
                    <a:moveTo>
                      <a:pt x="755" y="501"/>
                    </a:moveTo>
                    <a:lnTo>
                      <a:pt x="723" y="470"/>
                    </a:lnTo>
                    <a:lnTo>
                      <a:pt x="723" y="439"/>
                    </a:lnTo>
                    <a:lnTo>
                      <a:pt x="698" y="381"/>
                    </a:lnTo>
                    <a:lnTo>
                      <a:pt x="691" y="302"/>
                    </a:lnTo>
                    <a:lnTo>
                      <a:pt x="647" y="244"/>
                    </a:lnTo>
                    <a:lnTo>
                      <a:pt x="647" y="148"/>
                    </a:lnTo>
                    <a:lnTo>
                      <a:pt x="617" y="71"/>
                    </a:lnTo>
                    <a:cubicBezTo>
                      <a:pt x="617" y="71"/>
                      <a:pt x="607" y="27"/>
                      <a:pt x="594" y="0"/>
                    </a:cubicBezTo>
                    <a:lnTo>
                      <a:pt x="520" y="4"/>
                    </a:lnTo>
                    <a:lnTo>
                      <a:pt x="469" y="45"/>
                    </a:lnTo>
                    <a:lnTo>
                      <a:pt x="411" y="74"/>
                    </a:lnTo>
                    <a:lnTo>
                      <a:pt x="381" y="62"/>
                    </a:lnTo>
                    <a:lnTo>
                      <a:pt x="362" y="36"/>
                    </a:lnTo>
                    <a:lnTo>
                      <a:pt x="316" y="41"/>
                    </a:lnTo>
                    <a:lnTo>
                      <a:pt x="262" y="71"/>
                    </a:lnTo>
                    <a:lnTo>
                      <a:pt x="253" y="104"/>
                    </a:lnTo>
                    <a:lnTo>
                      <a:pt x="197" y="146"/>
                    </a:lnTo>
                    <a:lnTo>
                      <a:pt x="152" y="141"/>
                    </a:lnTo>
                    <a:lnTo>
                      <a:pt x="103" y="127"/>
                    </a:lnTo>
                    <a:lnTo>
                      <a:pt x="78" y="143"/>
                    </a:lnTo>
                    <a:lnTo>
                      <a:pt x="64" y="177"/>
                    </a:lnTo>
                    <a:lnTo>
                      <a:pt x="59" y="180"/>
                    </a:lnTo>
                    <a:lnTo>
                      <a:pt x="49" y="210"/>
                    </a:lnTo>
                    <a:lnTo>
                      <a:pt x="56" y="253"/>
                    </a:lnTo>
                    <a:lnTo>
                      <a:pt x="45" y="280"/>
                    </a:lnTo>
                    <a:lnTo>
                      <a:pt x="6" y="305"/>
                    </a:lnTo>
                    <a:lnTo>
                      <a:pt x="0" y="344"/>
                    </a:lnTo>
                    <a:lnTo>
                      <a:pt x="16" y="388"/>
                    </a:lnTo>
                    <a:lnTo>
                      <a:pt x="56" y="414"/>
                    </a:lnTo>
                    <a:lnTo>
                      <a:pt x="99" y="429"/>
                    </a:lnTo>
                    <a:lnTo>
                      <a:pt x="99" y="470"/>
                    </a:lnTo>
                    <a:lnTo>
                      <a:pt x="149" y="460"/>
                    </a:lnTo>
                    <a:lnTo>
                      <a:pt x="184" y="460"/>
                    </a:lnTo>
                    <a:lnTo>
                      <a:pt x="205" y="436"/>
                    </a:lnTo>
                    <a:lnTo>
                      <a:pt x="240" y="433"/>
                    </a:lnTo>
                    <a:lnTo>
                      <a:pt x="269" y="473"/>
                    </a:lnTo>
                    <a:lnTo>
                      <a:pt x="303" y="470"/>
                    </a:lnTo>
                    <a:lnTo>
                      <a:pt x="319" y="496"/>
                    </a:lnTo>
                    <a:lnTo>
                      <a:pt x="287" y="528"/>
                    </a:lnTo>
                    <a:lnTo>
                      <a:pt x="309" y="550"/>
                    </a:lnTo>
                    <a:lnTo>
                      <a:pt x="313" y="578"/>
                    </a:lnTo>
                    <a:lnTo>
                      <a:pt x="355" y="539"/>
                    </a:lnTo>
                    <a:lnTo>
                      <a:pt x="407" y="515"/>
                    </a:lnTo>
                    <a:lnTo>
                      <a:pt x="460" y="485"/>
                    </a:lnTo>
                    <a:lnTo>
                      <a:pt x="500" y="490"/>
                    </a:lnTo>
                    <a:lnTo>
                      <a:pt x="521" y="476"/>
                    </a:lnTo>
                    <a:lnTo>
                      <a:pt x="591" y="476"/>
                    </a:lnTo>
                    <a:lnTo>
                      <a:pt x="640" y="494"/>
                    </a:lnTo>
                    <a:lnTo>
                      <a:pt x="755" y="50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193"/>
              <p:cNvSpPr>
                <a:spLocks/>
              </p:cNvSpPr>
              <p:nvPr/>
            </p:nvSpPr>
            <p:spPr bwMode="auto">
              <a:xfrm>
                <a:off x="4973785" y="6088919"/>
                <a:ext cx="39639" cy="23126"/>
              </a:xfrm>
              <a:custGeom>
                <a:avLst/>
                <a:gdLst>
                  <a:gd name="T0" fmla="*/ 2147483647 w 279"/>
                  <a:gd name="T1" fmla="*/ 2147483647 h 159"/>
                  <a:gd name="T2" fmla="*/ 2147483647 w 279"/>
                  <a:gd name="T3" fmla="*/ 2147483647 h 159"/>
                  <a:gd name="T4" fmla="*/ 2147483647 w 279"/>
                  <a:gd name="T5" fmla="*/ 2147483647 h 159"/>
                  <a:gd name="T6" fmla="*/ 2147483647 w 279"/>
                  <a:gd name="T7" fmla="*/ 2147483647 h 159"/>
                  <a:gd name="T8" fmla="*/ 2147483647 w 279"/>
                  <a:gd name="T9" fmla="*/ 2147483647 h 159"/>
                  <a:gd name="T10" fmla="*/ 2147483647 w 279"/>
                  <a:gd name="T11" fmla="*/ 2147483647 h 159"/>
                  <a:gd name="T12" fmla="*/ 0 w 279"/>
                  <a:gd name="T13" fmla="*/ 2147483647 h 159"/>
                  <a:gd name="T14" fmla="*/ 2147483647 w 279"/>
                  <a:gd name="T15" fmla="*/ 2147483647 h 159"/>
                  <a:gd name="T16" fmla="*/ 2147483647 w 279"/>
                  <a:gd name="T17" fmla="*/ 2147483647 h 159"/>
                  <a:gd name="T18" fmla="*/ 2147483647 w 279"/>
                  <a:gd name="T19" fmla="*/ 2147483647 h 159"/>
                  <a:gd name="T20" fmla="*/ 2147483647 w 279"/>
                  <a:gd name="T21" fmla="*/ 2147483647 h 159"/>
                  <a:gd name="T22" fmla="*/ 2147483647 w 279"/>
                  <a:gd name="T23" fmla="*/ 2147483647 h 159"/>
                  <a:gd name="T24" fmla="*/ 2147483647 w 279"/>
                  <a:gd name="T25" fmla="*/ 0 h 159"/>
                  <a:gd name="T26" fmla="*/ 2147483647 w 279"/>
                  <a:gd name="T27" fmla="*/ 0 h 159"/>
                  <a:gd name="T28" fmla="*/ 2147483647 w 279"/>
                  <a:gd name="T29" fmla="*/ 2147483647 h 159"/>
                  <a:gd name="T30" fmla="*/ 2147483647 w 279"/>
                  <a:gd name="T31" fmla="*/ 2147483647 h 159"/>
                  <a:gd name="T32" fmla="*/ 2147483647 w 279"/>
                  <a:gd name="T33" fmla="*/ 2147483647 h 159"/>
                  <a:gd name="T34" fmla="*/ 2147483647 w 279"/>
                  <a:gd name="T35" fmla="*/ 2147483647 h 159"/>
                  <a:gd name="T36" fmla="*/ 2147483647 w 279"/>
                  <a:gd name="T37" fmla="*/ 2147483647 h 159"/>
                  <a:gd name="T38" fmla="*/ 2147483647 w 279"/>
                  <a:gd name="T39" fmla="*/ 2147483647 h 15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79" h="159">
                    <a:moveTo>
                      <a:pt x="273" y="145"/>
                    </a:moveTo>
                    <a:lnTo>
                      <a:pt x="191" y="141"/>
                    </a:lnTo>
                    <a:lnTo>
                      <a:pt x="145" y="127"/>
                    </a:lnTo>
                    <a:lnTo>
                      <a:pt x="110" y="159"/>
                    </a:lnTo>
                    <a:lnTo>
                      <a:pt x="81" y="157"/>
                    </a:lnTo>
                    <a:lnTo>
                      <a:pt x="39" y="120"/>
                    </a:lnTo>
                    <a:lnTo>
                      <a:pt x="0" y="96"/>
                    </a:lnTo>
                    <a:lnTo>
                      <a:pt x="14" y="76"/>
                    </a:lnTo>
                    <a:lnTo>
                      <a:pt x="37" y="69"/>
                    </a:lnTo>
                    <a:lnTo>
                      <a:pt x="59" y="37"/>
                    </a:lnTo>
                    <a:lnTo>
                      <a:pt x="109" y="27"/>
                    </a:lnTo>
                    <a:lnTo>
                      <a:pt x="144" y="27"/>
                    </a:lnTo>
                    <a:lnTo>
                      <a:pt x="165" y="3"/>
                    </a:lnTo>
                    <a:lnTo>
                      <a:pt x="200" y="0"/>
                    </a:lnTo>
                    <a:lnTo>
                      <a:pt x="229" y="40"/>
                    </a:lnTo>
                    <a:lnTo>
                      <a:pt x="263" y="37"/>
                    </a:lnTo>
                    <a:lnTo>
                      <a:pt x="279" y="63"/>
                    </a:lnTo>
                    <a:lnTo>
                      <a:pt x="247" y="95"/>
                    </a:lnTo>
                    <a:lnTo>
                      <a:pt x="269" y="117"/>
                    </a:lnTo>
                    <a:lnTo>
                      <a:pt x="273" y="145"/>
                    </a:lnTo>
                    <a:close/>
                  </a:path>
                </a:pathLst>
              </a:custGeom>
              <a:solidFill>
                <a:srgbClr val="FF6600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194"/>
              <p:cNvSpPr>
                <a:spLocks/>
              </p:cNvSpPr>
              <p:nvPr/>
            </p:nvSpPr>
            <p:spPr bwMode="auto">
              <a:xfrm>
                <a:off x="5051411" y="5928687"/>
                <a:ext cx="150296" cy="151972"/>
              </a:xfrm>
              <a:custGeom>
                <a:avLst/>
                <a:gdLst>
                  <a:gd name="T0" fmla="*/ 2147483647 w 1064"/>
                  <a:gd name="T1" fmla="*/ 2147483647 h 1086"/>
                  <a:gd name="T2" fmla="*/ 2147483647 w 1064"/>
                  <a:gd name="T3" fmla="*/ 2147483647 h 1086"/>
                  <a:gd name="T4" fmla="*/ 2147483647 w 1064"/>
                  <a:gd name="T5" fmla="*/ 2147483647 h 1086"/>
                  <a:gd name="T6" fmla="*/ 2147483647 w 1064"/>
                  <a:gd name="T7" fmla="*/ 2147483647 h 1086"/>
                  <a:gd name="T8" fmla="*/ 2147483647 w 1064"/>
                  <a:gd name="T9" fmla="*/ 2147483647 h 1086"/>
                  <a:gd name="T10" fmla="*/ 2147483647 w 1064"/>
                  <a:gd name="T11" fmla="*/ 2147483647 h 1086"/>
                  <a:gd name="T12" fmla="*/ 2147483647 w 1064"/>
                  <a:gd name="T13" fmla="*/ 2147483647 h 1086"/>
                  <a:gd name="T14" fmla="*/ 2147483647 w 1064"/>
                  <a:gd name="T15" fmla="*/ 2147483647 h 1086"/>
                  <a:gd name="T16" fmla="*/ 2147483647 w 1064"/>
                  <a:gd name="T17" fmla="*/ 2147483647 h 1086"/>
                  <a:gd name="T18" fmla="*/ 2147483647 w 1064"/>
                  <a:gd name="T19" fmla="*/ 2147483647 h 1086"/>
                  <a:gd name="T20" fmla="*/ 2147483647 w 1064"/>
                  <a:gd name="T21" fmla="*/ 2147483647 h 1086"/>
                  <a:gd name="T22" fmla="*/ 2147483647 w 1064"/>
                  <a:gd name="T23" fmla="*/ 2147483647 h 1086"/>
                  <a:gd name="T24" fmla="*/ 2147483647 w 1064"/>
                  <a:gd name="T25" fmla="*/ 2147483647 h 1086"/>
                  <a:gd name="T26" fmla="*/ 2147483647 w 1064"/>
                  <a:gd name="T27" fmla="*/ 2147483647 h 1086"/>
                  <a:gd name="T28" fmla="*/ 2147483647 w 1064"/>
                  <a:gd name="T29" fmla="*/ 2147483647 h 1086"/>
                  <a:gd name="T30" fmla="*/ 2147483647 w 1064"/>
                  <a:gd name="T31" fmla="*/ 2147483647 h 1086"/>
                  <a:gd name="T32" fmla="*/ 2147483647 w 1064"/>
                  <a:gd name="T33" fmla="*/ 2147483647 h 1086"/>
                  <a:gd name="T34" fmla="*/ 2147483647 w 1064"/>
                  <a:gd name="T35" fmla="*/ 2147483647 h 1086"/>
                  <a:gd name="T36" fmla="*/ 2147483647 w 1064"/>
                  <a:gd name="T37" fmla="*/ 2147483647 h 1086"/>
                  <a:gd name="T38" fmla="*/ 2147483647 w 1064"/>
                  <a:gd name="T39" fmla="*/ 2147483647 h 1086"/>
                  <a:gd name="T40" fmla="*/ 2147483647 w 1064"/>
                  <a:gd name="T41" fmla="*/ 2147483647 h 1086"/>
                  <a:gd name="T42" fmla="*/ 2147483647 w 1064"/>
                  <a:gd name="T43" fmla="*/ 2147483647 h 1086"/>
                  <a:gd name="T44" fmla="*/ 2147483647 w 1064"/>
                  <a:gd name="T45" fmla="*/ 2147483647 h 1086"/>
                  <a:gd name="T46" fmla="*/ 2147483647 w 1064"/>
                  <a:gd name="T47" fmla="*/ 2147483647 h 1086"/>
                  <a:gd name="T48" fmla="*/ 2147483647 w 1064"/>
                  <a:gd name="T49" fmla="*/ 2147483647 h 1086"/>
                  <a:gd name="T50" fmla="*/ 2147483647 w 1064"/>
                  <a:gd name="T51" fmla="*/ 2147483647 h 1086"/>
                  <a:gd name="T52" fmla="*/ 2147483647 w 1064"/>
                  <a:gd name="T53" fmla="*/ 2147483647 h 1086"/>
                  <a:gd name="T54" fmla="*/ 2147483647 w 1064"/>
                  <a:gd name="T55" fmla="*/ 2147483647 h 1086"/>
                  <a:gd name="T56" fmla="*/ 2147483647 w 1064"/>
                  <a:gd name="T57" fmla="*/ 2147483647 h 1086"/>
                  <a:gd name="T58" fmla="*/ 2147483647 w 1064"/>
                  <a:gd name="T59" fmla="*/ 2147483647 h 1086"/>
                  <a:gd name="T60" fmla="*/ 2147483647 w 1064"/>
                  <a:gd name="T61" fmla="*/ 2147483647 h 1086"/>
                  <a:gd name="T62" fmla="*/ 2147483647 w 1064"/>
                  <a:gd name="T63" fmla="*/ 0 h 1086"/>
                  <a:gd name="T64" fmla="*/ 2147483647 w 1064"/>
                  <a:gd name="T65" fmla="*/ 2147483647 h 1086"/>
                  <a:gd name="T66" fmla="*/ 2147483647 w 1064"/>
                  <a:gd name="T67" fmla="*/ 0 h 1086"/>
                  <a:gd name="T68" fmla="*/ 2147483647 w 1064"/>
                  <a:gd name="T69" fmla="*/ 2147483647 h 1086"/>
                  <a:gd name="T70" fmla="*/ 2147483647 w 1064"/>
                  <a:gd name="T71" fmla="*/ 2147483647 h 1086"/>
                  <a:gd name="T72" fmla="*/ 2147483647 w 1064"/>
                  <a:gd name="T73" fmla="*/ 2147483647 h 1086"/>
                  <a:gd name="T74" fmla="*/ 2147483647 w 1064"/>
                  <a:gd name="T75" fmla="*/ 2147483647 h 1086"/>
                  <a:gd name="T76" fmla="*/ 2147483647 w 1064"/>
                  <a:gd name="T77" fmla="*/ 2147483647 h 10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064" h="1086">
                    <a:moveTo>
                      <a:pt x="1064" y="97"/>
                    </a:moveTo>
                    <a:lnTo>
                      <a:pt x="1041" y="135"/>
                    </a:lnTo>
                    <a:lnTo>
                      <a:pt x="1020" y="128"/>
                    </a:lnTo>
                    <a:lnTo>
                      <a:pt x="1000" y="164"/>
                    </a:lnTo>
                    <a:lnTo>
                      <a:pt x="967" y="206"/>
                    </a:lnTo>
                    <a:cubicBezTo>
                      <a:pt x="967" y="206"/>
                      <a:pt x="941" y="239"/>
                      <a:pt x="934" y="237"/>
                    </a:cubicBezTo>
                    <a:cubicBezTo>
                      <a:pt x="927" y="234"/>
                      <a:pt x="908" y="234"/>
                      <a:pt x="908" y="234"/>
                    </a:cubicBezTo>
                    <a:lnTo>
                      <a:pt x="892" y="269"/>
                    </a:lnTo>
                    <a:lnTo>
                      <a:pt x="891" y="346"/>
                    </a:lnTo>
                    <a:lnTo>
                      <a:pt x="849" y="424"/>
                    </a:lnTo>
                    <a:lnTo>
                      <a:pt x="842" y="477"/>
                    </a:lnTo>
                    <a:lnTo>
                      <a:pt x="820" y="515"/>
                    </a:lnTo>
                    <a:lnTo>
                      <a:pt x="789" y="521"/>
                    </a:lnTo>
                    <a:lnTo>
                      <a:pt x="775" y="543"/>
                    </a:lnTo>
                    <a:lnTo>
                      <a:pt x="769" y="572"/>
                    </a:lnTo>
                    <a:lnTo>
                      <a:pt x="737" y="595"/>
                    </a:lnTo>
                    <a:lnTo>
                      <a:pt x="670" y="595"/>
                    </a:lnTo>
                    <a:lnTo>
                      <a:pt x="651" y="616"/>
                    </a:lnTo>
                    <a:lnTo>
                      <a:pt x="652" y="655"/>
                    </a:lnTo>
                    <a:lnTo>
                      <a:pt x="620" y="681"/>
                    </a:lnTo>
                    <a:lnTo>
                      <a:pt x="618" y="700"/>
                    </a:lnTo>
                    <a:lnTo>
                      <a:pt x="606" y="728"/>
                    </a:lnTo>
                    <a:lnTo>
                      <a:pt x="600" y="788"/>
                    </a:lnTo>
                    <a:lnTo>
                      <a:pt x="568" y="825"/>
                    </a:lnTo>
                    <a:lnTo>
                      <a:pt x="565" y="869"/>
                    </a:lnTo>
                    <a:lnTo>
                      <a:pt x="529" y="907"/>
                    </a:lnTo>
                    <a:lnTo>
                      <a:pt x="476" y="927"/>
                    </a:lnTo>
                    <a:lnTo>
                      <a:pt x="445" y="934"/>
                    </a:lnTo>
                    <a:lnTo>
                      <a:pt x="418" y="954"/>
                    </a:lnTo>
                    <a:lnTo>
                      <a:pt x="410" y="978"/>
                    </a:lnTo>
                    <a:lnTo>
                      <a:pt x="374" y="986"/>
                    </a:lnTo>
                    <a:lnTo>
                      <a:pt x="318" y="988"/>
                    </a:lnTo>
                    <a:lnTo>
                      <a:pt x="255" y="1076"/>
                    </a:lnTo>
                    <a:lnTo>
                      <a:pt x="186" y="1077"/>
                    </a:lnTo>
                    <a:lnTo>
                      <a:pt x="160" y="1086"/>
                    </a:lnTo>
                    <a:lnTo>
                      <a:pt x="123" y="1084"/>
                    </a:lnTo>
                    <a:lnTo>
                      <a:pt x="100" y="1073"/>
                    </a:lnTo>
                    <a:lnTo>
                      <a:pt x="96" y="1023"/>
                    </a:lnTo>
                    <a:lnTo>
                      <a:pt x="52" y="965"/>
                    </a:lnTo>
                    <a:lnTo>
                      <a:pt x="52" y="869"/>
                    </a:lnTo>
                    <a:lnTo>
                      <a:pt x="22" y="792"/>
                    </a:lnTo>
                    <a:cubicBezTo>
                      <a:pt x="22" y="792"/>
                      <a:pt x="12" y="749"/>
                      <a:pt x="0" y="723"/>
                    </a:cubicBezTo>
                    <a:lnTo>
                      <a:pt x="21" y="692"/>
                    </a:lnTo>
                    <a:lnTo>
                      <a:pt x="54" y="662"/>
                    </a:lnTo>
                    <a:lnTo>
                      <a:pt x="59" y="613"/>
                    </a:lnTo>
                    <a:lnTo>
                      <a:pt x="98" y="587"/>
                    </a:lnTo>
                    <a:lnTo>
                      <a:pt x="135" y="566"/>
                    </a:lnTo>
                    <a:lnTo>
                      <a:pt x="149" y="526"/>
                    </a:lnTo>
                    <a:cubicBezTo>
                      <a:pt x="149" y="526"/>
                      <a:pt x="177" y="468"/>
                      <a:pt x="201" y="464"/>
                    </a:cubicBezTo>
                    <a:lnTo>
                      <a:pt x="198" y="419"/>
                    </a:lnTo>
                    <a:lnTo>
                      <a:pt x="224" y="380"/>
                    </a:lnTo>
                    <a:lnTo>
                      <a:pt x="236" y="345"/>
                    </a:lnTo>
                    <a:lnTo>
                      <a:pt x="238" y="298"/>
                    </a:lnTo>
                    <a:lnTo>
                      <a:pt x="210" y="265"/>
                    </a:lnTo>
                    <a:lnTo>
                      <a:pt x="212" y="223"/>
                    </a:lnTo>
                    <a:lnTo>
                      <a:pt x="268" y="193"/>
                    </a:lnTo>
                    <a:lnTo>
                      <a:pt x="282" y="163"/>
                    </a:lnTo>
                    <a:lnTo>
                      <a:pt x="294" y="130"/>
                    </a:lnTo>
                    <a:lnTo>
                      <a:pt x="327" y="126"/>
                    </a:lnTo>
                    <a:lnTo>
                      <a:pt x="362" y="98"/>
                    </a:lnTo>
                    <a:lnTo>
                      <a:pt x="365" y="34"/>
                    </a:lnTo>
                    <a:lnTo>
                      <a:pt x="400" y="1"/>
                    </a:lnTo>
                    <a:lnTo>
                      <a:pt x="471" y="0"/>
                    </a:lnTo>
                    <a:lnTo>
                      <a:pt x="492" y="27"/>
                    </a:lnTo>
                    <a:lnTo>
                      <a:pt x="534" y="19"/>
                    </a:lnTo>
                    <a:lnTo>
                      <a:pt x="555" y="1"/>
                    </a:lnTo>
                    <a:lnTo>
                      <a:pt x="620" y="5"/>
                    </a:lnTo>
                    <a:lnTo>
                      <a:pt x="671" y="55"/>
                    </a:lnTo>
                    <a:lnTo>
                      <a:pt x="714" y="59"/>
                    </a:lnTo>
                    <a:lnTo>
                      <a:pt x="784" y="82"/>
                    </a:lnTo>
                    <a:lnTo>
                      <a:pt x="831" y="87"/>
                    </a:lnTo>
                    <a:lnTo>
                      <a:pt x="870" y="50"/>
                    </a:lnTo>
                    <a:lnTo>
                      <a:pt x="919" y="26"/>
                    </a:lnTo>
                    <a:lnTo>
                      <a:pt x="966" y="19"/>
                    </a:lnTo>
                    <a:lnTo>
                      <a:pt x="984" y="61"/>
                    </a:lnTo>
                    <a:lnTo>
                      <a:pt x="1029" y="85"/>
                    </a:lnTo>
                    <a:lnTo>
                      <a:pt x="1056" y="85"/>
                    </a:lnTo>
                    <a:lnTo>
                      <a:pt x="1064" y="97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195"/>
              <p:cNvSpPr>
                <a:spLocks/>
              </p:cNvSpPr>
              <p:nvPr/>
            </p:nvSpPr>
            <p:spPr bwMode="auto">
              <a:xfrm>
                <a:off x="5066275" y="5999718"/>
                <a:ext cx="102400" cy="120587"/>
              </a:xfrm>
              <a:custGeom>
                <a:avLst/>
                <a:gdLst>
                  <a:gd name="T0" fmla="*/ 2147483647 w 729"/>
                  <a:gd name="T1" fmla="*/ 2147483647 h 861"/>
                  <a:gd name="T2" fmla="*/ 2147483647 w 729"/>
                  <a:gd name="T3" fmla="*/ 2147483647 h 861"/>
                  <a:gd name="T4" fmla="*/ 2147483647 w 729"/>
                  <a:gd name="T5" fmla="*/ 2147483647 h 861"/>
                  <a:gd name="T6" fmla="*/ 2147483647 w 729"/>
                  <a:gd name="T7" fmla="*/ 2147483647 h 861"/>
                  <a:gd name="T8" fmla="*/ 2147483647 w 729"/>
                  <a:gd name="T9" fmla="*/ 2147483647 h 861"/>
                  <a:gd name="T10" fmla="*/ 2147483647 w 729"/>
                  <a:gd name="T11" fmla="*/ 2147483647 h 861"/>
                  <a:gd name="T12" fmla="*/ 2147483647 w 729"/>
                  <a:gd name="T13" fmla="*/ 2147483647 h 861"/>
                  <a:gd name="T14" fmla="*/ 2147483647 w 729"/>
                  <a:gd name="T15" fmla="*/ 2147483647 h 861"/>
                  <a:gd name="T16" fmla="*/ 2147483647 w 729"/>
                  <a:gd name="T17" fmla="*/ 2147483647 h 861"/>
                  <a:gd name="T18" fmla="*/ 2147483647 w 729"/>
                  <a:gd name="T19" fmla="*/ 2147483647 h 861"/>
                  <a:gd name="T20" fmla="*/ 2147483647 w 729"/>
                  <a:gd name="T21" fmla="*/ 2147483647 h 861"/>
                  <a:gd name="T22" fmla="*/ 2147483647 w 729"/>
                  <a:gd name="T23" fmla="*/ 2147483647 h 861"/>
                  <a:gd name="T24" fmla="*/ 2147483647 w 729"/>
                  <a:gd name="T25" fmla="*/ 2147483647 h 861"/>
                  <a:gd name="T26" fmla="*/ 2147483647 w 729"/>
                  <a:gd name="T27" fmla="*/ 2147483647 h 861"/>
                  <a:gd name="T28" fmla="*/ 2147483647 w 729"/>
                  <a:gd name="T29" fmla="*/ 2147483647 h 861"/>
                  <a:gd name="T30" fmla="*/ 2147483647 w 729"/>
                  <a:gd name="T31" fmla="*/ 2147483647 h 861"/>
                  <a:gd name="T32" fmla="*/ 2147483647 w 729"/>
                  <a:gd name="T33" fmla="*/ 2147483647 h 861"/>
                  <a:gd name="T34" fmla="*/ 2147483647 w 729"/>
                  <a:gd name="T35" fmla="*/ 2147483647 h 861"/>
                  <a:gd name="T36" fmla="*/ 0 w 729"/>
                  <a:gd name="T37" fmla="*/ 2147483647 h 861"/>
                  <a:gd name="T38" fmla="*/ 2147483647 w 729"/>
                  <a:gd name="T39" fmla="*/ 2147483647 h 861"/>
                  <a:gd name="T40" fmla="*/ 2147483647 w 729"/>
                  <a:gd name="T41" fmla="*/ 2147483647 h 861"/>
                  <a:gd name="T42" fmla="*/ 2147483647 w 729"/>
                  <a:gd name="T43" fmla="*/ 2147483647 h 861"/>
                  <a:gd name="T44" fmla="*/ 2147483647 w 729"/>
                  <a:gd name="T45" fmla="*/ 2147483647 h 861"/>
                  <a:gd name="T46" fmla="*/ 2147483647 w 729"/>
                  <a:gd name="T47" fmla="*/ 2147483647 h 861"/>
                  <a:gd name="T48" fmla="*/ 2147483647 w 729"/>
                  <a:gd name="T49" fmla="*/ 2147483647 h 861"/>
                  <a:gd name="T50" fmla="*/ 2147483647 w 729"/>
                  <a:gd name="T51" fmla="*/ 2147483647 h 861"/>
                  <a:gd name="T52" fmla="*/ 2147483647 w 729"/>
                  <a:gd name="T53" fmla="*/ 2147483647 h 861"/>
                  <a:gd name="T54" fmla="*/ 2147483647 w 729"/>
                  <a:gd name="T55" fmla="*/ 2147483647 h 861"/>
                  <a:gd name="T56" fmla="*/ 2147483647 w 729"/>
                  <a:gd name="T57" fmla="*/ 2147483647 h 861"/>
                  <a:gd name="T58" fmla="*/ 2147483647 w 729"/>
                  <a:gd name="T59" fmla="*/ 2147483647 h 861"/>
                  <a:gd name="T60" fmla="*/ 2147483647 w 729"/>
                  <a:gd name="T61" fmla="*/ 2147483647 h 861"/>
                  <a:gd name="T62" fmla="*/ 2147483647 w 729"/>
                  <a:gd name="T63" fmla="*/ 0 h 86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29" h="861">
                    <a:moveTo>
                      <a:pt x="720" y="0"/>
                    </a:moveTo>
                    <a:lnTo>
                      <a:pt x="716" y="55"/>
                    </a:lnTo>
                    <a:lnTo>
                      <a:pt x="718" y="89"/>
                    </a:lnTo>
                    <a:lnTo>
                      <a:pt x="727" y="113"/>
                    </a:lnTo>
                    <a:lnTo>
                      <a:pt x="729" y="159"/>
                    </a:lnTo>
                    <a:lnTo>
                      <a:pt x="688" y="199"/>
                    </a:lnTo>
                    <a:lnTo>
                      <a:pt x="692" y="234"/>
                    </a:lnTo>
                    <a:lnTo>
                      <a:pt x="705" y="259"/>
                    </a:lnTo>
                    <a:lnTo>
                      <a:pt x="709" y="353"/>
                    </a:lnTo>
                    <a:lnTo>
                      <a:pt x="659" y="398"/>
                    </a:lnTo>
                    <a:lnTo>
                      <a:pt x="653" y="448"/>
                    </a:lnTo>
                    <a:lnTo>
                      <a:pt x="671" y="501"/>
                    </a:lnTo>
                    <a:lnTo>
                      <a:pt x="676" y="563"/>
                    </a:lnTo>
                    <a:lnTo>
                      <a:pt x="664" y="596"/>
                    </a:lnTo>
                    <a:lnTo>
                      <a:pt x="666" y="714"/>
                    </a:lnTo>
                    <a:lnTo>
                      <a:pt x="658" y="717"/>
                    </a:lnTo>
                    <a:lnTo>
                      <a:pt x="632" y="724"/>
                    </a:lnTo>
                    <a:lnTo>
                      <a:pt x="609" y="754"/>
                    </a:lnTo>
                    <a:lnTo>
                      <a:pt x="550" y="756"/>
                    </a:lnTo>
                    <a:lnTo>
                      <a:pt x="534" y="777"/>
                    </a:lnTo>
                    <a:lnTo>
                      <a:pt x="506" y="777"/>
                    </a:lnTo>
                    <a:lnTo>
                      <a:pt x="488" y="801"/>
                    </a:lnTo>
                    <a:lnTo>
                      <a:pt x="447" y="805"/>
                    </a:lnTo>
                    <a:lnTo>
                      <a:pt x="399" y="834"/>
                    </a:lnTo>
                    <a:cubicBezTo>
                      <a:pt x="399" y="834"/>
                      <a:pt x="399" y="861"/>
                      <a:pt x="384" y="861"/>
                    </a:cubicBezTo>
                    <a:cubicBezTo>
                      <a:pt x="368" y="861"/>
                      <a:pt x="364" y="836"/>
                      <a:pt x="364" y="836"/>
                    </a:cubicBezTo>
                    <a:lnTo>
                      <a:pt x="352" y="820"/>
                    </a:lnTo>
                    <a:lnTo>
                      <a:pt x="315" y="815"/>
                    </a:lnTo>
                    <a:cubicBezTo>
                      <a:pt x="315" y="815"/>
                      <a:pt x="293" y="782"/>
                      <a:pt x="284" y="782"/>
                    </a:cubicBezTo>
                    <a:cubicBezTo>
                      <a:pt x="275" y="782"/>
                      <a:pt x="238" y="777"/>
                      <a:pt x="238" y="777"/>
                    </a:cubicBezTo>
                    <a:lnTo>
                      <a:pt x="211" y="789"/>
                    </a:lnTo>
                    <a:lnTo>
                      <a:pt x="151" y="784"/>
                    </a:lnTo>
                    <a:lnTo>
                      <a:pt x="102" y="735"/>
                    </a:lnTo>
                    <a:lnTo>
                      <a:pt x="60" y="707"/>
                    </a:lnTo>
                    <a:lnTo>
                      <a:pt x="28" y="676"/>
                    </a:lnTo>
                    <a:lnTo>
                      <a:pt x="28" y="645"/>
                    </a:lnTo>
                    <a:lnTo>
                      <a:pt x="3" y="587"/>
                    </a:lnTo>
                    <a:lnTo>
                      <a:pt x="0" y="558"/>
                    </a:lnTo>
                    <a:lnTo>
                      <a:pt x="23" y="569"/>
                    </a:lnTo>
                    <a:lnTo>
                      <a:pt x="60" y="571"/>
                    </a:lnTo>
                    <a:lnTo>
                      <a:pt x="86" y="562"/>
                    </a:lnTo>
                    <a:lnTo>
                      <a:pt x="155" y="561"/>
                    </a:lnTo>
                    <a:lnTo>
                      <a:pt x="218" y="473"/>
                    </a:lnTo>
                    <a:lnTo>
                      <a:pt x="274" y="471"/>
                    </a:lnTo>
                    <a:lnTo>
                      <a:pt x="310" y="463"/>
                    </a:lnTo>
                    <a:lnTo>
                      <a:pt x="318" y="439"/>
                    </a:lnTo>
                    <a:lnTo>
                      <a:pt x="345" y="419"/>
                    </a:lnTo>
                    <a:lnTo>
                      <a:pt x="376" y="412"/>
                    </a:lnTo>
                    <a:lnTo>
                      <a:pt x="429" y="392"/>
                    </a:lnTo>
                    <a:lnTo>
                      <a:pt x="465" y="354"/>
                    </a:lnTo>
                    <a:lnTo>
                      <a:pt x="468" y="310"/>
                    </a:lnTo>
                    <a:lnTo>
                      <a:pt x="500" y="273"/>
                    </a:lnTo>
                    <a:lnTo>
                      <a:pt x="506" y="213"/>
                    </a:lnTo>
                    <a:lnTo>
                      <a:pt x="518" y="185"/>
                    </a:lnTo>
                    <a:lnTo>
                      <a:pt x="520" y="166"/>
                    </a:lnTo>
                    <a:lnTo>
                      <a:pt x="552" y="140"/>
                    </a:lnTo>
                    <a:lnTo>
                      <a:pt x="551" y="101"/>
                    </a:lnTo>
                    <a:lnTo>
                      <a:pt x="570" y="80"/>
                    </a:lnTo>
                    <a:lnTo>
                      <a:pt x="637" y="80"/>
                    </a:lnTo>
                    <a:lnTo>
                      <a:pt x="669" y="57"/>
                    </a:lnTo>
                    <a:lnTo>
                      <a:pt x="675" y="28"/>
                    </a:lnTo>
                    <a:lnTo>
                      <a:pt x="689" y="6"/>
                    </a:lnTo>
                    <a:lnTo>
                      <a:pt x="720" y="0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196"/>
              <p:cNvSpPr>
                <a:spLocks/>
              </p:cNvSpPr>
              <p:nvPr/>
            </p:nvSpPr>
            <p:spPr bwMode="auto">
              <a:xfrm>
                <a:off x="5157114" y="5907213"/>
                <a:ext cx="122219" cy="193269"/>
              </a:xfrm>
              <a:custGeom>
                <a:avLst/>
                <a:gdLst>
                  <a:gd name="T0" fmla="*/ 2147483647 w 869"/>
                  <a:gd name="T1" fmla="*/ 0 h 1378"/>
                  <a:gd name="T2" fmla="*/ 2147483647 w 869"/>
                  <a:gd name="T3" fmla="*/ 2147483647 h 1378"/>
                  <a:gd name="T4" fmla="*/ 2147483647 w 869"/>
                  <a:gd name="T5" fmla="*/ 2147483647 h 1378"/>
                  <a:gd name="T6" fmla="*/ 2147483647 w 869"/>
                  <a:gd name="T7" fmla="*/ 2147483647 h 1378"/>
                  <a:gd name="T8" fmla="*/ 2147483647 w 869"/>
                  <a:gd name="T9" fmla="*/ 2147483647 h 1378"/>
                  <a:gd name="T10" fmla="*/ 2147483647 w 869"/>
                  <a:gd name="T11" fmla="*/ 2147483647 h 1378"/>
                  <a:gd name="T12" fmla="*/ 2147483647 w 869"/>
                  <a:gd name="T13" fmla="*/ 2147483647 h 1378"/>
                  <a:gd name="T14" fmla="*/ 2147483647 w 869"/>
                  <a:gd name="T15" fmla="*/ 2147483647 h 1378"/>
                  <a:gd name="T16" fmla="*/ 2147483647 w 869"/>
                  <a:gd name="T17" fmla="*/ 2147483647 h 1378"/>
                  <a:gd name="T18" fmla="*/ 2147483647 w 869"/>
                  <a:gd name="T19" fmla="*/ 2147483647 h 1378"/>
                  <a:gd name="T20" fmla="*/ 2147483647 w 869"/>
                  <a:gd name="T21" fmla="*/ 2147483647 h 1378"/>
                  <a:gd name="T22" fmla="*/ 2147483647 w 869"/>
                  <a:gd name="T23" fmla="*/ 2147483647 h 1378"/>
                  <a:gd name="T24" fmla="*/ 2147483647 w 869"/>
                  <a:gd name="T25" fmla="*/ 2147483647 h 1378"/>
                  <a:gd name="T26" fmla="*/ 2147483647 w 869"/>
                  <a:gd name="T27" fmla="*/ 2147483647 h 1378"/>
                  <a:gd name="T28" fmla="*/ 2147483647 w 869"/>
                  <a:gd name="T29" fmla="*/ 2147483647 h 1378"/>
                  <a:gd name="T30" fmla="*/ 2147483647 w 869"/>
                  <a:gd name="T31" fmla="*/ 2147483647 h 1378"/>
                  <a:gd name="T32" fmla="*/ 0 w 869"/>
                  <a:gd name="T33" fmla="*/ 2147483647 h 1378"/>
                  <a:gd name="T34" fmla="*/ 2147483647 w 869"/>
                  <a:gd name="T35" fmla="*/ 2147483647 h 1378"/>
                  <a:gd name="T36" fmla="*/ 2147483647 w 869"/>
                  <a:gd name="T37" fmla="*/ 2147483647 h 1378"/>
                  <a:gd name="T38" fmla="*/ 2147483647 w 869"/>
                  <a:gd name="T39" fmla="*/ 2147483647 h 1378"/>
                  <a:gd name="T40" fmla="*/ 2147483647 w 869"/>
                  <a:gd name="T41" fmla="*/ 2147483647 h 1378"/>
                  <a:gd name="T42" fmla="*/ 2147483647 w 869"/>
                  <a:gd name="T43" fmla="*/ 2147483647 h 1378"/>
                  <a:gd name="T44" fmla="*/ 2147483647 w 869"/>
                  <a:gd name="T45" fmla="*/ 2147483647 h 1378"/>
                  <a:gd name="T46" fmla="*/ 2147483647 w 869"/>
                  <a:gd name="T47" fmla="*/ 2147483647 h 1378"/>
                  <a:gd name="T48" fmla="*/ 2147483647 w 869"/>
                  <a:gd name="T49" fmla="*/ 2147483647 h 1378"/>
                  <a:gd name="T50" fmla="*/ 2147483647 w 869"/>
                  <a:gd name="T51" fmla="*/ 2147483647 h 1378"/>
                  <a:gd name="T52" fmla="*/ 2147483647 w 869"/>
                  <a:gd name="T53" fmla="*/ 2147483647 h 1378"/>
                  <a:gd name="T54" fmla="*/ 2147483647 w 869"/>
                  <a:gd name="T55" fmla="*/ 2147483647 h 1378"/>
                  <a:gd name="T56" fmla="*/ 2147483647 w 869"/>
                  <a:gd name="T57" fmla="*/ 2147483647 h 1378"/>
                  <a:gd name="T58" fmla="*/ 2147483647 w 869"/>
                  <a:gd name="T59" fmla="*/ 2147483647 h 1378"/>
                  <a:gd name="T60" fmla="*/ 2147483647 w 869"/>
                  <a:gd name="T61" fmla="*/ 2147483647 h 1378"/>
                  <a:gd name="T62" fmla="*/ 2147483647 w 869"/>
                  <a:gd name="T63" fmla="*/ 2147483647 h 1378"/>
                  <a:gd name="T64" fmla="*/ 2147483647 w 869"/>
                  <a:gd name="T65" fmla="*/ 2147483647 h 1378"/>
                  <a:gd name="T66" fmla="*/ 2147483647 w 869"/>
                  <a:gd name="T67" fmla="*/ 2147483647 h 1378"/>
                  <a:gd name="T68" fmla="*/ 2147483647 w 869"/>
                  <a:gd name="T69" fmla="*/ 2147483647 h 1378"/>
                  <a:gd name="T70" fmla="*/ 2147483647 w 869"/>
                  <a:gd name="T71" fmla="*/ 2147483647 h 1378"/>
                  <a:gd name="T72" fmla="*/ 2147483647 w 869"/>
                  <a:gd name="T73" fmla="*/ 2147483647 h 137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69" h="1378">
                    <a:moveTo>
                      <a:pt x="710" y="30"/>
                    </a:moveTo>
                    <a:lnTo>
                      <a:pt x="698" y="4"/>
                    </a:lnTo>
                    <a:lnTo>
                      <a:pt x="669" y="0"/>
                    </a:lnTo>
                    <a:lnTo>
                      <a:pt x="657" y="30"/>
                    </a:lnTo>
                    <a:lnTo>
                      <a:pt x="568" y="35"/>
                    </a:lnTo>
                    <a:lnTo>
                      <a:pt x="564" y="70"/>
                    </a:lnTo>
                    <a:lnTo>
                      <a:pt x="550" y="91"/>
                    </a:lnTo>
                    <a:lnTo>
                      <a:pt x="514" y="110"/>
                    </a:lnTo>
                    <a:lnTo>
                      <a:pt x="459" y="150"/>
                    </a:lnTo>
                    <a:lnTo>
                      <a:pt x="414" y="203"/>
                    </a:lnTo>
                    <a:lnTo>
                      <a:pt x="379" y="227"/>
                    </a:lnTo>
                    <a:lnTo>
                      <a:pt x="320" y="259"/>
                    </a:lnTo>
                    <a:lnTo>
                      <a:pt x="311" y="246"/>
                    </a:lnTo>
                    <a:lnTo>
                      <a:pt x="288" y="284"/>
                    </a:lnTo>
                    <a:lnTo>
                      <a:pt x="267" y="277"/>
                    </a:lnTo>
                    <a:lnTo>
                      <a:pt x="247" y="313"/>
                    </a:lnTo>
                    <a:lnTo>
                      <a:pt x="214" y="355"/>
                    </a:lnTo>
                    <a:cubicBezTo>
                      <a:pt x="214" y="355"/>
                      <a:pt x="188" y="388"/>
                      <a:pt x="181" y="386"/>
                    </a:cubicBezTo>
                    <a:cubicBezTo>
                      <a:pt x="174" y="383"/>
                      <a:pt x="155" y="383"/>
                      <a:pt x="155" y="383"/>
                    </a:cubicBezTo>
                    <a:lnTo>
                      <a:pt x="139" y="418"/>
                    </a:lnTo>
                    <a:lnTo>
                      <a:pt x="138" y="495"/>
                    </a:lnTo>
                    <a:lnTo>
                      <a:pt x="96" y="573"/>
                    </a:lnTo>
                    <a:lnTo>
                      <a:pt x="89" y="626"/>
                    </a:lnTo>
                    <a:lnTo>
                      <a:pt x="67" y="664"/>
                    </a:lnTo>
                    <a:lnTo>
                      <a:pt x="63" y="719"/>
                    </a:lnTo>
                    <a:lnTo>
                      <a:pt x="65" y="753"/>
                    </a:lnTo>
                    <a:lnTo>
                      <a:pt x="74" y="777"/>
                    </a:lnTo>
                    <a:lnTo>
                      <a:pt x="76" y="823"/>
                    </a:lnTo>
                    <a:lnTo>
                      <a:pt x="35" y="863"/>
                    </a:lnTo>
                    <a:lnTo>
                      <a:pt x="39" y="898"/>
                    </a:lnTo>
                    <a:lnTo>
                      <a:pt x="52" y="923"/>
                    </a:lnTo>
                    <a:lnTo>
                      <a:pt x="56" y="1017"/>
                    </a:lnTo>
                    <a:lnTo>
                      <a:pt x="6" y="1062"/>
                    </a:lnTo>
                    <a:lnTo>
                      <a:pt x="0" y="1112"/>
                    </a:lnTo>
                    <a:lnTo>
                      <a:pt x="18" y="1165"/>
                    </a:lnTo>
                    <a:lnTo>
                      <a:pt x="23" y="1227"/>
                    </a:lnTo>
                    <a:lnTo>
                      <a:pt x="11" y="1260"/>
                    </a:lnTo>
                    <a:lnTo>
                      <a:pt x="13" y="1378"/>
                    </a:lnTo>
                    <a:lnTo>
                      <a:pt x="33" y="1369"/>
                    </a:lnTo>
                    <a:lnTo>
                      <a:pt x="134" y="1313"/>
                    </a:lnTo>
                    <a:lnTo>
                      <a:pt x="211" y="1289"/>
                    </a:lnTo>
                    <a:lnTo>
                      <a:pt x="262" y="1282"/>
                    </a:lnTo>
                    <a:lnTo>
                      <a:pt x="283" y="1259"/>
                    </a:lnTo>
                    <a:lnTo>
                      <a:pt x="323" y="1199"/>
                    </a:lnTo>
                    <a:lnTo>
                      <a:pt x="404" y="1140"/>
                    </a:lnTo>
                    <a:lnTo>
                      <a:pt x="533" y="1061"/>
                    </a:lnTo>
                    <a:lnTo>
                      <a:pt x="561" y="1032"/>
                    </a:lnTo>
                    <a:lnTo>
                      <a:pt x="554" y="1005"/>
                    </a:lnTo>
                    <a:lnTo>
                      <a:pt x="550" y="974"/>
                    </a:lnTo>
                    <a:lnTo>
                      <a:pt x="598" y="913"/>
                    </a:lnTo>
                    <a:lnTo>
                      <a:pt x="692" y="804"/>
                    </a:lnTo>
                    <a:lnTo>
                      <a:pt x="727" y="783"/>
                    </a:lnTo>
                    <a:lnTo>
                      <a:pt x="734" y="729"/>
                    </a:lnTo>
                    <a:lnTo>
                      <a:pt x="746" y="715"/>
                    </a:lnTo>
                    <a:lnTo>
                      <a:pt x="755" y="657"/>
                    </a:lnTo>
                    <a:lnTo>
                      <a:pt x="765" y="642"/>
                    </a:lnTo>
                    <a:lnTo>
                      <a:pt x="771" y="612"/>
                    </a:lnTo>
                    <a:lnTo>
                      <a:pt x="869" y="519"/>
                    </a:lnTo>
                    <a:lnTo>
                      <a:pt x="846" y="518"/>
                    </a:lnTo>
                    <a:lnTo>
                      <a:pt x="823" y="500"/>
                    </a:lnTo>
                    <a:lnTo>
                      <a:pt x="807" y="470"/>
                    </a:lnTo>
                    <a:lnTo>
                      <a:pt x="762" y="472"/>
                    </a:lnTo>
                    <a:lnTo>
                      <a:pt x="734" y="467"/>
                    </a:lnTo>
                    <a:lnTo>
                      <a:pt x="734" y="416"/>
                    </a:lnTo>
                    <a:cubicBezTo>
                      <a:pt x="734" y="416"/>
                      <a:pt x="767" y="400"/>
                      <a:pt x="767" y="371"/>
                    </a:cubicBezTo>
                    <a:cubicBezTo>
                      <a:pt x="767" y="341"/>
                      <a:pt x="753" y="331"/>
                      <a:pt x="753" y="331"/>
                    </a:cubicBezTo>
                    <a:lnTo>
                      <a:pt x="728" y="280"/>
                    </a:lnTo>
                    <a:lnTo>
                      <a:pt x="719" y="211"/>
                    </a:lnTo>
                    <a:lnTo>
                      <a:pt x="715" y="149"/>
                    </a:lnTo>
                    <a:lnTo>
                      <a:pt x="737" y="123"/>
                    </a:lnTo>
                    <a:lnTo>
                      <a:pt x="729" y="93"/>
                    </a:lnTo>
                    <a:lnTo>
                      <a:pt x="701" y="85"/>
                    </a:lnTo>
                    <a:lnTo>
                      <a:pt x="677" y="51"/>
                    </a:lnTo>
                    <a:lnTo>
                      <a:pt x="710" y="30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197"/>
              <p:cNvSpPr>
                <a:spLocks/>
              </p:cNvSpPr>
              <p:nvPr/>
            </p:nvSpPr>
            <p:spPr bwMode="auto">
              <a:xfrm>
                <a:off x="4775592" y="5887391"/>
                <a:ext cx="130477" cy="113979"/>
              </a:xfrm>
              <a:custGeom>
                <a:avLst/>
                <a:gdLst>
                  <a:gd name="T0" fmla="*/ 2147483647 w 925"/>
                  <a:gd name="T1" fmla="*/ 2147483647 h 812"/>
                  <a:gd name="T2" fmla="*/ 2147483647 w 925"/>
                  <a:gd name="T3" fmla="*/ 2147483647 h 812"/>
                  <a:gd name="T4" fmla="*/ 2147483647 w 925"/>
                  <a:gd name="T5" fmla="*/ 2147483647 h 812"/>
                  <a:gd name="T6" fmla="*/ 2147483647 w 925"/>
                  <a:gd name="T7" fmla="*/ 2147483647 h 812"/>
                  <a:gd name="T8" fmla="*/ 2147483647 w 925"/>
                  <a:gd name="T9" fmla="*/ 2147483647 h 812"/>
                  <a:gd name="T10" fmla="*/ 2147483647 w 925"/>
                  <a:gd name="T11" fmla="*/ 2147483647 h 812"/>
                  <a:gd name="T12" fmla="*/ 2147483647 w 925"/>
                  <a:gd name="T13" fmla="*/ 2147483647 h 812"/>
                  <a:gd name="T14" fmla="*/ 2147483647 w 925"/>
                  <a:gd name="T15" fmla="*/ 0 h 812"/>
                  <a:gd name="T16" fmla="*/ 2147483647 w 925"/>
                  <a:gd name="T17" fmla="*/ 2147483647 h 812"/>
                  <a:gd name="T18" fmla="*/ 2147483647 w 925"/>
                  <a:gd name="T19" fmla="*/ 2147483647 h 812"/>
                  <a:gd name="T20" fmla="*/ 2147483647 w 925"/>
                  <a:gd name="T21" fmla="*/ 2147483647 h 812"/>
                  <a:gd name="T22" fmla="*/ 2147483647 w 925"/>
                  <a:gd name="T23" fmla="*/ 2147483647 h 812"/>
                  <a:gd name="T24" fmla="*/ 2147483647 w 925"/>
                  <a:gd name="T25" fmla="*/ 2147483647 h 812"/>
                  <a:gd name="T26" fmla="*/ 2147483647 w 925"/>
                  <a:gd name="T27" fmla="*/ 2147483647 h 812"/>
                  <a:gd name="T28" fmla="*/ 2147483647 w 925"/>
                  <a:gd name="T29" fmla="*/ 2147483647 h 812"/>
                  <a:gd name="T30" fmla="*/ 2147483647 w 925"/>
                  <a:gd name="T31" fmla="*/ 2147483647 h 812"/>
                  <a:gd name="T32" fmla="*/ 2147483647 w 925"/>
                  <a:gd name="T33" fmla="*/ 2147483647 h 812"/>
                  <a:gd name="T34" fmla="*/ 2147483647 w 925"/>
                  <a:gd name="T35" fmla="*/ 2147483647 h 812"/>
                  <a:gd name="T36" fmla="*/ 2147483647 w 925"/>
                  <a:gd name="T37" fmla="*/ 2147483647 h 812"/>
                  <a:gd name="T38" fmla="*/ 2147483647 w 925"/>
                  <a:gd name="T39" fmla="*/ 2147483647 h 812"/>
                  <a:gd name="T40" fmla="*/ 2147483647 w 925"/>
                  <a:gd name="T41" fmla="*/ 2147483647 h 812"/>
                  <a:gd name="T42" fmla="*/ 2147483647 w 925"/>
                  <a:gd name="T43" fmla="*/ 2147483647 h 812"/>
                  <a:gd name="T44" fmla="*/ 2147483647 w 925"/>
                  <a:gd name="T45" fmla="*/ 2147483647 h 812"/>
                  <a:gd name="T46" fmla="*/ 2147483647 w 925"/>
                  <a:gd name="T47" fmla="*/ 2147483647 h 812"/>
                  <a:gd name="T48" fmla="*/ 2147483647 w 925"/>
                  <a:gd name="T49" fmla="*/ 2147483647 h 812"/>
                  <a:gd name="T50" fmla="*/ 2147483647 w 925"/>
                  <a:gd name="T51" fmla="*/ 2147483647 h 812"/>
                  <a:gd name="T52" fmla="*/ 2147483647 w 925"/>
                  <a:gd name="T53" fmla="*/ 2147483647 h 812"/>
                  <a:gd name="T54" fmla="*/ 2147483647 w 925"/>
                  <a:gd name="T55" fmla="*/ 2147483647 h 812"/>
                  <a:gd name="T56" fmla="*/ 2147483647 w 925"/>
                  <a:gd name="T57" fmla="*/ 2147483647 h 812"/>
                  <a:gd name="T58" fmla="*/ 0 w 925"/>
                  <a:gd name="T59" fmla="*/ 2147483647 h 812"/>
                  <a:gd name="T60" fmla="*/ 2147483647 w 925"/>
                  <a:gd name="T61" fmla="*/ 2147483647 h 812"/>
                  <a:gd name="T62" fmla="*/ 2147483647 w 925"/>
                  <a:gd name="T63" fmla="*/ 2147483647 h 812"/>
                  <a:gd name="T64" fmla="*/ 2147483647 w 925"/>
                  <a:gd name="T65" fmla="*/ 2147483647 h 812"/>
                  <a:gd name="T66" fmla="*/ 2147483647 w 925"/>
                  <a:gd name="T67" fmla="*/ 2147483647 h 812"/>
                  <a:gd name="T68" fmla="*/ 2147483647 w 925"/>
                  <a:gd name="T69" fmla="*/ 2147483647 h 812"/>
                  <a:gd name="T70" fmla="*/ 2147483647 w 925"/>
                  <a:gd name="T71" fmla="*/ 2147483647 h 8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25" h="812">
                    <a:moveTo>
                      <a:pt x="234" y="201"/>
                    </a:moveTo>
                    <a:cubicBezTo>
                      <a:pt x="234" y="201"/>
                      <a:pt x="256" y="211"/>
                      <a:pt x="266" y="211"/>
                    </a:cubicBezTo>
                    <a:cubicBezTo>
                      <a:pt x="276" y="211"/>
                      <a:pt x="278" y="194"/>
                      <a:pt x="278" y="194"/>
                    </a:cubicBezTo>
                    <a:lnTo>
                      <a:pt x="269" y="173"/>
                    </a:lnTo>
                    <a:lnTo>
                      <a:pt x="249" y="154"/>
                    </a:lnTo>
                    <a:lnTo>
                      <a:pt x="256" y="120"/>
                    </a:lnTo>
                    <a:lnTo>
                      <a:pt x="305" y="113"/>
                    </a:lnTo>
                    <a:lnTo>
                      <a:pt x="327" y="90"/>
                    </a:lnTo>
                    <a:lnTo>
                      <a:pt x="329" y="56"/>
                    </a:lnTo>
                    <a:lnTo>
                      <a:pt x="369" y="34"/>
                    </a:lnTo>
                    <a:lnTo>
                      <a:pt x="415" y="33"/>
                    </a:lnTo>
                    <a:lnTo>
                      <a:pt x="448" y="48"/>
                    </a:lnTo>
                    <a:lnTo>
                      <a:pt x="483" y="38"/>
                    </a:lnTo>
                    <a:lnTo>
                      <a:pt x="517" y="56"/>
                    </a:lnTo>
                    <a:lnTo>
                      <a:pt x="552" y="54"/>
                    </a:lnTo>
                    <a:lnTo>
                      <a:pt x="604" y="0"/>
                    </a:lnTo>
                    <a:lnTo>
                      <a:pt x="643" y="2"/>
                    </a:lnTo>
                    <a:lnTo>
                      <a:pt x="680" y="63"/>
                    </a:lnTo>
                    <a:lnTo>
                      <a:pt x="756" y="66"/>
                    </a:lnTo>
                    <a:lnTo>
                      <a:pt x="805" y="108"/>
                    </a:lnTo>
                    <a:lnTo>
                      <a:pt x="885" y="101"/>
                    </a:lnTo>
                    <a:lnTo>
                      <a:pt x="880" y="132"/>
                    </a:lnTo>
                    <a:lnTo>
                      <a:pt x="864" y="179"/>
                    </a:lnTo>
                    <a:lnTo>
                      <a:pt x="829" y="206"/>
                    </a:lnTo>
                    <a:lnTo>
                      <a:pt x="777" y="248"/>
                    </a:lnTo>
                    <a:lnTo>
                      <a:pt x="749" y="295"/>
                    </a:lnTo>
                    <a:lnTo>
                      <a:pt x="754" y="342"/>
                    </a:lnTo>
                    <a:lnTo>
                      <a:pt x="780" y="353"/>
                    </a:lnTo>
                    <a:lnTo>
                      <a:pt x="826" y="466"/>
                    </a:lnTo>
                    <a:lnTo>
                      <a:pt x="847" y="484"/>
                    </a:lnTo>
                    <a:lnTo>
                      <a:pt x="871" y="494"/>
                    </a:lnTo>
                    <a:lnTo>
                      <a:pt x="883" y="531"/>
                    </a:lnTo>
                    <a:lnTo>
                      <a:pt x="881" y="557"/>
                    </a:lnTo>
                    <a:lnTo>
                      <a:pt x="859" y="583"/>
                    </a:lnTo>
                    <a:lnTo>
                      <a:pt x="871" y="646"/>
                    </a:lnTo>
                    <a:lnTo>
                      <a:pt x="894" y="671"/>
                    </a:lnTo>
                    <a:lnTo>
                      <a:pt x="911" y="695"/>
                    </a:lnTo>
                    <a:lnTo>
                      <a:pt x="922" y="735"/>
                    </a:lnTo>
                    <a:lnTo>
                      <a:pt x="925" y="812"/>
                    </a:lnTo>
                    <a:lnTo>
                      <a:pt x="892" y="802"/>
                    </a:lnTo>
                    <a:cubicBezTo>
                      <a:pt x="892" y="802"/>
                      <a:pt x="869" y="786"/>
                      <a:pt x="861" y="786"/>
                    </a:cubicBezTo>
                    <a:cubicBezTo>
                      <a:pt x="852" y="786"/>
                      <a:pt x="826" y="804"/>
                      <a:pt x="826" y="804"/>
                    </a:cubicBezTo>
                    <a:lnTo>
                      <a:pt x="796" y="804"/>
                    </a:lnTo>
                    <a:lnTo>
                      <a:pt x="733" y="746"/>
                    </a:lnTo>
                    <a:lnTo>
                      <a:pt x="701" y="741"/>
                    </a:lnTo>
                    <a:lnTo>
                      <a:pt x="645" y="760"/>
                    </a:lnTo>
                    <a:cubicBezTo>
                      <a:pt x="645" y="760"/>
                      <a:pt x="576" y="793"/>
                      <a:pt x="563" y="793"/>
                    </a:cubicBezTo>
                    <a:cubicBezTo>
                      <a:pt x="551" y="793"/>
                      <a:pt x="441" y="781"/>
                      <a:pt x="441" y="781"/>
                    </a:cubicBezTo>
                    <a:lnTo>
                      <a:pt x="389" y="737"/>
                    </a:lnTo>
                    <a:lnTo>
                      <a:pt x="347" y="725"/>
                    </a:lnTo>
                    <a:lnTo>
                      <a:pt x="320" y="741"/>
                    </a:lnTo>
                    <a:lnTo>
                      <a:pt x="292" y="728"/>
                    </a:lnTo>
                    <a:lnTo>
                      <a:pt x="228" y="658"/>
                    </a:lnTo>
                    <a:lnTo>
                      <a:pt x="186" y="662"/>
                    </a:lnTo>
                    <a:lnTo>
                      <a:pt x="119" y="681"/>
                    </a:lnTo>
                    <a:lnTo>
                      <a:pt x="41" y="716"/>
                    </a:lnTo>
                    <a:lnTo>
                      <a:pt x="8" y="732"/>
                    </a:lnTo>
                    <a:lnTo>
                      <a:pt x="2" y="647"/>
                    </a:lnTo>
                    <a:lnTo>
                      <a:pt x="0" y="586"/>
                    </a:lnTo>
                    <a:lnTo>
                      <a:pt x="2" y="418"/>
                    </a:lnTo>
                    <a:lnTo>
                      <a:pt x="21" y="404"/>
                    </a:lnTo>
                    <a:lnTo>
                      <a:pt x="25" y="357"/>
                    </a:lnTo>
                    <a:lnTo>
                      <a:pt x="53" y="343"/>
                    </a:lnTo>
                    <a:cubicBezTo>
                      <a:pt x="69" y="335"/>
                      <a:pt x="102" y="330"/>
                      <a:pt x="102" y="330"/>
                    </a:cubicBezTo>
                    <a:lnTo>
                      <a:pt x="122" y="302"/>
                    </a:lnTo>
                    <a:cubicBezTo>
                      <a:pt x="122" y="302"/>
                      <a:pt x="114" y="282"/>
                      <a:pt x="133" y="273"/>
                    </a:cubicBezTo>
                    <a:cubicBezTo>
                      <a:pt x="152" y="265"/>
                      <a:pt x="159" y="268"/>
                      <a:pt x="159" y="268"/>
                    </a:cubicBezTo>
                    <a:lnTo>
                      <a:pt x="191" y="280"/>
                    </a:lnTo>
                    <a:lnTo>
                      <a:pt x="217" y="254"/>
                    </a:lnTo>
                    <a:lnTo>
                      <a:pt x="215" y="210"/>
                    </a:lnTo>
                    <a:lnTo>
                      <a:pt x="234" y="20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198"/>
              <p:cNvSpPr>
                <a:spLocks/>
              </p:cNvSpPr>
              <p:nvPr/>
            </p:nvSpPr>
            <p:spPr bwMode="auto">
              <a:xfrm>
                <a:off x="4775592" y="5538846"/>
                <a:ext cx="525211" cy="581459"/>
              </a:xfrm>
              <a:custGeom>
                <a:avLst/>
                <a:gdLst>
                  <a:gd name="T0" fmla="*/ 2147483647 w 3748"/>
                  <a:gd name="T1" fmla="*/ 2147483647 h 4158"/>
                  <a:gd name="T2" fmla="*/ 2147483647 w 3748"/>
                  <a:gd name="T3" fmla="*/ 2147483647 h 4158"/>
                  <a:gd name="T4" fmla="*/ 2147483647 w 3748"/>
                  <a:gd name="T5" fmla="*/ 2147483647 h 4158"/>
                  <a:gd name="T6" fmla="*/ 2147483647 w 3748"/>
                  <a:gd name="T7" fmla="*/ 2147483647 h 4158"/>
                  <a:gd name="T8" fmla="*/ 2147483647 w 3748"/>
                  <a:gd name="T9" fmla="*/ 0 h 4158"/>
                  <a:gd name="T10" fmla="*/ 2147483647 w 3748"/>
                  <a:gd name="T11" fmla="*/ 2147483647 h 4158"/>
                  <a:gd name="T12" fmla="*/ 2147483647 w 3748"/>
                  <a:gd name="T13" fmla="*/ 2147483647 h 4158"/>
                  <a:gd name="T14" fmla="*/ 2147483647 w 3748"/>
                  <a:gd name="T15" fmla="*/ 2147483647 h 4158"/>
                  <a:gd name="T16" fmla="*/ 2147483647 w 3748"/>
                  <a:gd name="T17" fmla="*/ 2147483647 h 4158"/>
                  <a:gd name="T18" fmla="*/ 2147483647 w 3748"/>
                  <a:gd name="T19" fmla="*/ 2147483647 h 4158"/>
                  <a:gd name="T20" fmla="*/ 2147483647 w 3748"/>
                  <a:gd name="T21" fmla="*/ 2147483647 h 4158"/>
                  <a:gd name="T22" fmla="*/ 2147483647 w 3748"/>
                  <a:gd name="T23" fmla="*/ 2147483647 h 4158"/>
                  <a:gd name="T24" fmla="*/ 2147483647 w 3748"/>
                  <a:gd name="T25" fmla="*/ 2147483647 h 4158"/>
                  <a:gd name="T26" fmla="*/ 2147483647 w 3748"/>
                  <a:gd name="T27" fmla="*/ 2147483647 h 4158"/>
                  <a:gd name="T28" fmla="*/ 2147483647 w 3748"/>
                  <a:gd name="T29" fmla="*/ 2147483647 h 4158"/>
                  <a:gd name="T30" fmla="*/ 2147483647 w 3748"/>
                  <a:gd name="T31" fmla="*/ 2147483647 h 4158"/>
                  <a:gd name="T32" fmla="*/ 2147483647 w 3748"/>
                  <a:gd name="T33" fmla="*/ 2147483647 h 4158"/>
                  <a:gd name="T34" fmla="*/ 2147483647 w 3748"/>
                  <a:gd name="T35" fmla="*/ 2147483647 h 4158"/>
                  <a:gd name="T36" fmla="*/ 2147483647 w 3748"/>
                  <a:gd name="T37" fmla="*/ 2147483647 h 4158"/>
                  <a:gd name="T38" fmla="*/ 2147483647 w 3748"/>
                  <a:gd name="T39" fmla="*/ 2147483647 h 4158"/>
                  <a:gd name="T40" fmla="*/ 2147483647 w 3748"/>
                  <a:gd name="T41" fmla="*/ 2147483647 h 4158"/>
                  <a:gd name="T42" fmla="*/ 2147483647 w 3748"/>
                  <a:gd name="T43" fmla="*/ 2147483647 h 4158"/>
                  <a:gd name="T44" fmla="*/ 2147483647 w 3748"/>
                  <a:gd name="T45" fmla="*/ 2147483647 h 4158"/>
                  <a:gd name="T46" fmla="*/ 2147483647 w 3748"/>
                  <a:gd name="T47" fmla="*/ 2147483647 h 4158"/>
                  <a:gd name="T48" fmla="*/ 2147483647 w 3748"/>
                  <a:gd name="T49" fmla="*/ 2147483647 h 4158"/>
                  <a:gd name="T50" fmla="*/ 2147483647 w 3748"/>
                  <a:gd name="T51" fmla="*/ 2147483647 h 4158"/>
                  <a:gd name="T52" fmla="*/ 2147483647 w 3748"/>
                  <a:gd name="T53" fmla="*/ 2147483647 h 4158"/>
                  <a:gd name="T54" fmla="*/ 2147483647 w 3748"/>
                  <a:gd name="T55" fmla="*/ 2147483647 h 4158"/>
                  <a:gd name="T56" fmla="*/ 2147483647 w 3748"/>
                  <a:gd name="T57" fmla="*/ 2147483647 h 4158"/>
                  <a:gd name="T58" fmla="*/ 2147483647 w 3748"/>
                  <a:gd name="T59" fmla="*/ 2147483647 h 4158"/>
                  <a:gd name="T60" fmla="*/ 2147483647 w 3748"/>
                  <a:gd name="T61" fmla="*/ 2147483647 h 4158"/>
                  <a:gd name="T62" fmla="*/ 2147483647 w 3748"/>
                  <a:gd name="T63" fmla="*/ 2147483647 h 4158"/>
                  <a:gd name="T64" fmla="*/ 2147483647 w 3748"/>
                  <a:gd name="T65" fmla="*/ 2147483647 h 4158"/>
                  <a:gd name="T66" fmla="*/ 2147483647 w 3748"/>
                  <a:gd name="T67" fmla="*/ 2147483647 h 4158"/>
                  <a:gd name="T68" fmla="*/ 2147483647 w 3748"/>
                  <a:gd name="T69" fmla="*/ 2147483647 h 4158"/>
                  <a:gd name="T70" fmla="*/ 2147483647 w 3748"/>
                  <a:gd name="T71" fmla="*/ 2147483647 h 4158"/>
                  <a:gd name="T72" fmla="*/ 2147483647 w 3748"/>
                  <a:gd name="T73" fmla="*/ 2147483647 h 4158"/>
                  <a:gd name="T74" fmla="*/ 2147483647 w 3748"/>
                  <a:gd name="T75" fmla="*/ 2147483647 h 4158"/>
                  <a:gd name="T76" fmla="*/ 2147483647 w 3748"/>
                  <a:gd name="T77" fmla="*/ 2147483647 h 4158"/>
                  <a:gd name="T78" fmla="*/ 2147483647 w 3748"/>
                  <a:gd name="T79" fmla="*/ 2147483647 h 4158"/>
                  <a:gd name="T80" fmla="*/ 2147483647 w 3748"/>
                  <a:gd name="T81" fmla="*/ 2147483647 h 4158"/>
                  <a:gd name="T82" fmla="*/ 2147483647 w 3748"/>
                  <a:gd name="T83" fmla="*/ 2147483647 h 4158"/>
                  <a:gd name="T84" fmla="*/ 2147483647 w 3748"/>
                  <a:gd name="T85" fmla="*/ 2147483647 h 4158"/>
                  <a:gd name="T86" fmla="*/ 2147483647 w 3748"/>
                  <a:gd name="T87" fmla="*/ 2147483647 h 4158"/>
                  <a:gd name="T88" fmla="*/ 2147483647 w 3748"/>
                  <a:gd name="T89" fmla="*/ 2147483647 h 4158"/>
                  <a:gd name="T90" fmla="*/ 2147483647 w 3748"/>
                  <a:gd name="T91" fmla="*/ 2147483647 h 4158"/>
                  <a:gd name="T92" fmla="*/ 2147483647 w 3748"/>
                  <a:gd name="T93" fmla="*/ 2147483647 h 4158"/>
                  <a:gd name="T94" fmla="*/ 2147483647 w 3748"/>
                  <a:gd name="T95" fmla="*/ 2147483647 h 4158"/>
                  <a:gd name="T96" fmla="*/ 2147483647 w 3748"/>
                  <a:gd name="T97" fmla="*/ 2147483647 h 4158"/>
                  <a:gd name="T98" fmla="*/ 2147483647 w 3748"/>
                  <a:gd name="T99" fmla="*/ 2147483647 h 4158"/>
                  <a:gd name="T100" fmla="*/ 2147483647 w 3748"/>
                  <a:gd name="T101" fmla="*/ 2147483647 h 4158"/>
                  <a:gd name="T102" fmla="*/ 2147483647 w 3748"/>
                  <a:gd name="T103" fmla="*/ 2147483647 h 4158"/>
                  <a:gd name="T104" fmla="*/ 2147483647 w 3748"/>
                  <a:gd name="T105" fmla="*/ 2147483647 h 4158"/>
                  <a:gd name="T106" fmla="*/ 2147483647 w 3748"/>
                  <a:gd name="T107" fmla="*/ 2147483647 h 4158"/>
                  <a:gd name="T108" fmla="*/ 2147483647 w 3748"/>
                  <a:gd name="T109" fmla="*/ 2147483647 h 4158"/>
                  <a:gd name="T110" fmla="*/ 2147483647 w 3748"/>
                  <a:gd name="T111" fmla="*/ 2147483647 h 4158"/>
                  <a:gd name="T112" fmla="*/ 2147483647 w 3748"/>
                  <a:gd name="T113" fmla="*/ 2147483647 h 4158"/>
                  <a:gd name="T114" fmla="*/ 2147483647 w 3748"/>
                  <a:gd name="T115" fmla="*/ 2147483647 h 4158"/>
                  <a:gd name="T116" fmla="*/ 2147483647 w 3748"/>
                  <a:gd name="T117" fmla="*/ 2147483647 h 4158"/>
                  <a:gd name="T118" fmla="*/ 2147483647 w 3748"/>
                  <a:gd name="T119" fmla="*/ 2147483647 h 4158"/>
                  <a:gd name="T120" fmla="*/ 2147483647 w 3748"/>
                  <a:gd name="T121" fmla="*/ 2147483647 h 4158"/>
                  <a:gd name="T122" fmla="*/ 2147483647 w 3748"/>
                  <a:gd name="T123" fmla="*/ 2147483647 h 4158"/>
                  <a:gd name="T124" fmla="*/ 2147483647 w 3748"/>
                  <a:gd name="T125" fmla="*/ 2147483647 h 415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48" h="4158">
                    <a:moveTo>
                      <a:pt x="387" y="555"/>
                    </a:moveTo>
                    <a:lnTo>
                      <a:pt x="376" y="507"/>
                    </a:lnTo>
                    <a:lnTo>
                      <a:pt x="337" y="461"/>
                    </a:lnTo>
                    <a:lnTo>
                      <a:pt x="320" y="420"/>
                    </a:lnTo>
                    <a:lnTo>
                      <a:pt x="328" y="348"/>
                    </a:lnTo>
                    <a:lnTo>
                      <a:pt x="359" y="318"/>
                    </a:lnTo>
                    <a:lnTo>
                      <a:pt x="452" y="255"/>
                    </a:lnTo>
                    <a:lnTo>
                      <a:pt x="509" y="187"/>
                    </a:lnTo>
                    <a:lnTo>
                      <a:pt x="517" y="81"/>
                    </a:lnTo>
                    <a:cubicBezTo>
                      <a:pt x="517" y="81"/>
                      <a:pt x="559" y="85"/>
                      <a:pt x="565" y="96"/>
                    </a:cubicBezTo>
                    <a:cubicBezTo>
                      <a:pt x="572" y="107"/>
                      <a:pt x="576" y="129"/>
                      <a:pt x="576" y="129"/>
                    </a:cubicBezTo>
                    <a:lnTo>
                      <a:pt x="574" y="166"/>
                    </a:lnTo>
                    <a:lnTo>
                      <a:pt x="600" y="166"/>
                    </a:lnTo>
                    <a:lnTo>
                      <a:pt x="613" y="142"/>
                    </a:lnTo>
                    <a:lnTo>
                      <a:pt x="650" y="148"/>
                    </a:lnTo>
                    <a:lnTo>
                      <a:pt x="661" y="174"/>
                    </a:lnTo>
                    <a:lnTo>
                      <a:pt x="707" y="172"/>
                    </a:lnTo>
                    <a:lnTo>
                      <a:pt x="720" y="153"/>
                    </a:lnTo>
                    <a:lnTo>
                      <a:pt x="759" y="157"/>
                    </a:lnTo>
                    <a:lnTo>
                      <a:pt x="778" y="172"/>
                    </a:lnTo>
                    <a:cubicBezTo>
                      <a:pt x="778" y="172"/>
                      <a:pt x="824" y="185"/>
                      <a:pt x="854" y="146"/>
                    </a:cubicBezTo>
                    <a:cubicBezTo>
                      <a:pt x="885" y="107"/>
                      <a:pt x="872" y="50"/>
                      <a:pt x="872" y="50"/>
                    </a:cubicBezTo>
                    <a:lnTo>
                      <a:pt x="933" y="33"/>
                    </a:lnTo>
                    <a:lnTo>
                      <a:pt x="965" y="18"/>
                    </a:lnTo>
                    <a:lnTo>
                      <a:pt x="998" y="0"/>
                    </a:lnTo>
                    <a:lnTo>
                      <a:pt x="1022" y="18"/>
                    </a:lnTo>
                    <a:lnTo>
                      <a:pt x="1068" y="18"/>
                    </a:lnTo>
                    <a:lnTo>
                      <a:pt x="1105" y="7"/>
                    </a:lnTo>
                    <a:lnTo>
                      <a:pt x="1137" y="46"/>
                    </a:lnTo>
                    <a:lnTo>
                      <a:pt x="1148" y="81"/>
                    </a:lnTo>
                    <a:lnTo>
                      <a:pt x="1187" y="85"/>
                    </a:lnTo>
                    <a:lnTo>
                      <a:pt x="1235" y="122"/>
                    </a:lnTo>
                    <a:lnTo>
                      <a:pt x="1250" y="155"/>
                    </a:lnTo>
                    <a:lnTo>
                      <a:pt x="1278" y="192"/>
                    </a:lnTo>
                    <a:lnTo>
                      <a:pt x="1305" y="192"/>
                    </a:lnTo>
                    <a:lnTo>
                      <a:pt x="1365" y="261"/>
                    </a:lnTo>
                    <a:lnTo>
                      <a:pt x="1409" y="283"/>
                    </a:lnTo>
                    <a:lnTo>
                      <a:pt x="1431" y="296"/>
                    </a:lnTo>
                    <a:lnTo>
                      <a:pt x="1431" y="346"/>
                    </a:lnTo>
                    <a:lnTo>
                      <a:pt x="1500" y="359"/>
                    </a:lnTo>
                    <a:lnTo>
                      <a:pt x="1502" y="387"/>
                    </a:lnTo>
                    <a:lnTo>
                      <a:pt x="1559" y="427"/>
                    </a:lnTo>
                    <a:lnTo>
                      <a:pt x="1607" y="485"/>
                    </a:lnTo>
                    <a:lnTo>
                      <a:pt x="1652" y="527"/>
                    </a:lnTo>
                    <a:lnTo>
                      <a:pt x="1663" y="583"/>
                    </a:lnTo>
                    <a:lnTo>
                      <a:pt x="1726" y="600"/>
                    </a:lnTo>
                    <a:lnTo>
                      <a:pt x="1748" y="633"/>
                    </a:lnTo>
                    <a:lnTo>
                      <a:pt x="1748" y="677"/>
                    </a:lnTo>
                    <a:lnTo>
                      <a:pt x="1713" y="707"/>
                    </a:lnTo>
                    <a:lnTo>
                      <a:pt x="1705" y="742"/>
                    </a:lnTo>
                    <a:lnTo>
                      <a:pt x="1722" y="768"/>
                    </a:lnTo>
                    <a:lnTo>
                      <a:pt x="1724" y="794"/>
                    </a:lnTo>
                    <a:lnTo>
                      <a:pt x="1716" y="818"/>
                    </a:lnTo>
                    <a:lnTo>
                      <a:pt x="1713" y="851"/>
                    </a:lnTo>
                    <a:lnTo>
                      <a:pt x="1809" y="855"/>
                    </a:lnTo>
                    <a:lnTo>
                      <a:pt x="1863" y="822"/>
                    </a:lnTo>
                    <a:lnTo>
                      <a:pt x="1911" y="777"/>
                    </a:lnTo>
                    <a:lnTo>
                      <a:pt x="1929" y="753"/>
                    </a:lnTo>
                    <a:lnTo>
                      <a:pt x="1972" y="744"/>
                    </a:lnTo>
                    <a:lnTo>
                      <a:pt x="1983" y="724"/>
                    </a:lnTo>
                    <a:lnTo>
                      <a:pt x="1972" y="692"/>
                    </a:lnTo>
                    <a:lnTo>
                      <a:pt x="1985" y="659"/>
                    </a:lnTo>
                    <a:lnTo>
                      <a:pt x="2035" y="648"/>
                    </a:lnTo>
                    <a:cubicBezTo>
                      <a:pt x="2050" y="677"/>
                      <a:pt x="2059" y="703"/>
                      <a:pt x="2059" y="703"/>
                    </a:cubicBezTo>
                    <a:lnTo>
                      <a:pt x="2096" y="731"/>
                    </a:lnTo>
                    <a:lnTo>
                      <a:pt x="2135" y="744"/>
                    </a:lnTo>
                    <a:lnTo>
                      <a:pt x="2153" y="770"/>
                    </a:lnTo>
                    <a:lnTo>
                      <a:pt x="2142" y="798"/>
                    </a:lnTo>
                    <a:lnTo>
                      <a:pt x="2183" y="801"/>
                    </a:lnTo>
                    <a:lnTo>
                      <a:pt x="2187" y="827"/>
                    </a:lnTo>
                    <a:lnTo>
                      <a:pt x="2213" y="855"/>
                    </a:lnTo>
                    <a:lnTo>
                      <a:pt x="2218" y="887"/>
                    </a:lnTo>
                    <a:lnTo>
                      <a:pt x="2207" y="916"/>
                    </a:lnTo>
                    <a:lnTo>
                      <a:pt x="2259" y="927"/>
                    </a:lnTo>
                    <a:lnTo>
                      <a:pt x="2276" y="966"/>
                    </a:lnTo>
                    <a:lnTo>
                      <a:pt x="2283" y="1005"/>
                    </a:lnTo>
                    <a:lnTo>
                      <a:pt x="2307" y="1033"/>
                    </a:lnTo>
                    <a:lnTo>
                      <a:pt x="2331" y="1027"/>
                    </a:lnTo>
                    <a:lnTo>
                      <a:pt x="2379" y="1066"/>
                    </a:lnTo>
                    <a:lnTo>
                      <a:pt x="2420" y="1064"/>
                    </a:lnTo>
                    <a:lnTo>
                      <a:pt x="2427" y="1035"/>
                    </a:lnTo>
                    <a:lnTo>
                      <a:pt x="2459" y="1035"/>
                    </a:lnTo>
                    <a:lnTo>
                      <a:pt x="2496" y="1109"/>
                    </a:lnTo>
                    <a:lnTo>
                      <a:pt x="2537" y="1120"/>
                    </a:lnTo>
                    <a:lnTo>
                      <a:pt x="2577" y="1166"/>
                    </a:lnTo>
                    <a:lnTo>
                      <a:pt x="2609" y="1170"/>
                    </a:lnTo>
                    <a:lnTo>
                      <a:pt x="2633" y="1153"/>
                    </a:lnTo>
                    <a:lnTo>
                      <a:pt x="2661" y="1166"/>
                    </a:lnTo>
                    <a:lnTo>
                      <a:pt x="2690" y="1194"/>
                    </a:lnTo>
                    <a:lnTo>
                      <a:pt x="2744" y="1198"/>
                    </a:lnTo>
                    <a:lnTo>
                      <a:pt x="2792" y="1246"/>
                    </a:lnTo>
                    <a:lnTo>
                      <a:pt x="2848" y="1298"/>
                    </a:lnTo>
                    <a:lnTo>
                      <a:pt x="2846" y="1377"/>
                    </a:lnTo>
                    <a:lnTo>
                      <a:pt x="2940" y="1446"/>
                    </a:lnTo>
                    <a:lnTo>
                      <a:pt x="2990" y="1518"/>
                    </a:lnTo>
                    <a:lnTo>
                      <a:pt x="3040" y="1553"/>
                    </a:lnTo>
                    <a:lnTo>
                      <a:pt x="3068" y="1564"/>
                    </a:lnTo>
                    <a:lnTo>
                      <a:pt x="3111" y="1564"/>
                    </a:lnTo>
                    <a:lnTo>
                      <a:pt x="3122" y="1547"/>
                    </a:lnTo>
                    <a:lnTo>
                      <a:pt x="3137" y="1550"/>
                    </a:lnTo>
                    <a:lnTo>
                      <a:pt x="3139" y="1574"/>
                    </a:lnTo>
                    <a:lnTo>
                      <a:pt x="3158" y="1549"/>
                    </a:lnTo>
                    <a:lnTo>
                      <a:pt x="3186" y="1557"/>
                    </a:lnTo>
                    <a:lnTo>
                      <a:pt x="3181" y="1598"/>
                    </a:lnTo>
                    <a:lnTo>
                      <a:pt x="3224" y="1598"/>
                    </a:lnTo>
                    <a:lnTo>
                      <a:pt x="3281" y="1672"/>
                    </a:lnTo>
                    <a:lnTo>
                      <a:pt x="3353" y="1701"/>
                    </a:lnTo>
                    <a:lnTo>
                      <a:pt x="3366" y="1733"/>
                    </a:lnTo>
                    <a:lnTo>
                      <a:pt x="3355" y="1759"/>
                    </a:lnTo>
                    <a:lnTo>
                      <a:pt x="3400" y="1818"/>
                    </a:lnTo>
                    <a:lnTo>
                      <a:pt x="3431" y="1874"/>
                    </a:lnTo>
                    <a:lnTo>
                      <a:pt x="3433" y="1942"/>
                    </a:lnTo>
                    <a:lnTo>
                      <a:pt x="3435" y="1978"/>
                    </a:lnTo>
                    <a:lnTo>
                      <a:pt x="3449" y="1988"/>
                    </a:lnTo>
                    <a:cubicBezTo>
                      <a:pt x="3449" y="1988"/>
                      <a:pt x="3467" y="2015"/>
                      <a:pt x="3469" y="2019"/>
                    </a:cubicBezTo>
                    <a:cubicBezTo>
                      <a:pt x="3470" y="2023"/>
                      <a:pt x="3488" y="2052"/>
                      <a:pt x="3488" y="2052"/>
                    </a:cubicBezTo>
                    <a:cubicBezTo>
                      <a:pt x="3488" y="2052"/>
                      <a:pt x="3505" y="2068"/>
                      <a:pt x="3511" y="2071"/>
                    </a:cubicBezTo>
                    <a:cubicBezTo>
                      <a:pt x="3516" y="2073"/>
                      <a:pt x="3545" y="2083"/>
                      <a:pt x="3545" y="2083"/>
                    </a:cubicBezTo>
                    <a:lnTo>
                      <a:pt x="3560" y="2098"/>
                    </a:lnTo>
                    <a:lnTo>
                      <a:pt x="3578" y="2127"/>
                    </a:lnTo>
                    <a:lnTo>
                      <a:pt x="3618" y="2149"/>
                    </a:lnTo>
                    <a:lnTo>
                      <a:pt x="3657" y="2176"/>
                    </a:lnTo>
                    <a:lnTo>
                      <a:pt x="3702" y="2174"/>
                    </a:lnTo>
                    <a:lnTo>
                      <a:pt x="3748" y="2218"/>
                    </a:lnTo>
                    <a:lnTo>
                      <a:pt x="3746" y="2278"/>
                    </a:lnTo>
                    <a:lnTo>
                      <a:pt x="3718" y="2287"/>
                    </a:lnTo>
                    <a:lnTo>
                      <a:pt x="3699" y="2298"/>
                    </a:lnTo>
                    <a:lnTo>
                      <a:pt x="3657" y="2313"/>
                    </a:lnTo>
                    <a:lnTo>
                      <a:pt x="3670" y="2358"/>
                    </a:lnTo>
                    <a:lnTo>
                      <a:pt x="3667" y="2398"/>
                    </a:lnTo>
                    <a:lnTo>
                      <a:pt x="3622" y="2443"/>
                    </a:lnTo>
                    <a:lnTo>
                      <a:pt x="3621" y="2477"/>
                    </a:lnTo>
                    <a:lnTo>
                      <a:pt x="3518" y="2481"/>
                    </a:lnTo>
                    <a:lnTo>
                      <a:pt x="3464" y="2561"/>
                    </a:lnTo>
                    <a:lnTo>
                      <a:pt x="3429" y="2574"/>
                    </a:lnTo>
                    <a:lnTo>
                      <a:pt x="3412" y="2615"/>
                    </a:lnTo>
                    <a:lnTo>
                      <a:pt x="3434" y="2663"/>
                    </a:lnTo>
                    <a:lnTo>
                      <a:pt x="3401" y="2684"/>
                    </a:lnTo>
                    <a:lnTo>
                      <a:pt x="3425" y="2718"/>
                    </a:lnTo>
                    <a:lnTo>
                      <a:pt x="3453" y="2726"/>
                    </a:lnTo>
                    <a:lnTo>
                      <a:pt x="3461" y="2756"/>
                    </a:lnTo>
                    <a:lnTo>
                      <a:pt x="3439" y="2782"/>
                    </a:lnTo>
                    <a:lnTo>
                      <a:pt x="3443" y="2844"/>
                    </a:lnTo>
                    <a:lnTo>
                      <a:pt x="3452" y="2913"/>
                    </a:lnTo>
                    <a:lnTo>
                      <a:pt x="3477" y="2964"/>
                    </a:lnTo>
                    <a:cubicBezTo>
                      <a:pt x="3477" y="2964"/>
                      <a:pt x="3491" y="2974"/>
                      <a:pt x="3491" y="3004"/>
                    </a:cubicBezTo>
                    <a:cubicBezTo>
                      <a:pt x="3491" y="3033"/>
                      <a:pt x="3458" y="3049"/>
                      <a:pt x="3458" y="3049"/>
                    </a:cubicBezTo>
                    <a:lnTo>
                      <a:pt x="3458" y="3100"/>
                    </a:lnTo>
                    <a:lnTo>
                      <a:pt x="3486" y="3105"/>
                    </a:lnTo>
                    <a:lnTo>
                      <a:pt x="3531" y="3103"/>
                    </a:lnTo>
                    <a:lnTo>
                      <a:pt x="3547" y="3133"/>
                    </a:lnTo>
                    <a:lnTo>
                      <a:pt x="3570" y="3151"/>
                    </a:lnTo>
                    <a:lnTo>
                      <a:pt x="3593" y="3152"/>
                    </a:lnTo>
                    <a:lnTo>
                      <a:pt x="3495" y="3245"/>
                    </a:lnTo>
                    <a:lnTo>
                      <a:pt x="3489" y="3275"/>
                    </a:lnTo>
                    <a:lnTo>
                      <a:pt x="3479" y="3290"/>
                    </a:lnTo>
                    <a:lnTo>
                      <a:pt x="3470" y="3348"/>
                    </a:lnTo>
                    <a:lnTo>
                      <a:pt x="3458" y="3362"/>
                    </a:lnTo>
                    <a:lnTo>
                      <a:pt x="3451" y="3416"/>
                    </a:lnTo>
                    <a:lnTo>
                      <a:pt x="3416" y="3437"/>
                    </a:lnTo>
                    <a:lnTo>
                      <a:pt x="3322" y="3546"/>
                    </a:lnTo>
                    <a:lnTo>
                      <a:pt x="3274" y="3607"/>
                    </a:lnTo>
                    <a:lnTo>
                      <a:pt x="3278" y="3638"/>
                    </a:lnTo>
                    <a:lnTo>
                      <a:pt x="3285" y="3665"/>
                    </a:lnTo>
                    <a:lnTo>
                      <a:pt x="3257" y="3694"/>
                    </a:lnTo>
                    <a:lnTo>
                      <a:pt x="3128" y="3773"/>
                    </a:lnTo>
                    <a:lnTo>
                      <a:pt x="3047" y="3832"/>
                    </a:lnTo>
                    <a:lnTo>
                      <a:pt x="3007" y="3892"/>
                    </a:lnTo>
                    <a:lnTo>
                      <a:pt x="2986" y="3915"/>
                    </a:lnTo>
                    <a:lnTo>
                      <a:pt x="2935" y="3922"/>
                    </a:lnTo>
                    <a:lnTo>
                      <a:pt x="2858" y="3946"/>
                    </a:lnTo>
                    <a:lnTo>
                      <a:pt x="2757" y="4002"/>
                    </a:lnTo>
                    <a:lnTo>
                      <a:pt x="2729" y="4014"/>
                    </a:lnTo>
                    <a:lnTo>
                      <a:pt x="2703" y="4021"/>
                    </a:lnTo>
                    <a:lnTo>
                      <a:pt x="2680" y="4051"/>
                    </a:lnTo>
                    <a:lnTo>
                      <a:pt x="2621" y="4053"/>
                    </a:lnTo>
                    <a:lnTo>
                      <a:pt x="2605" y="4074"/>
                    </a:lnTo>
                    <a:lnTo>
                      <a:pt x="2577" y="4074"/>
                    </a:lnTo>
                    <a:lnTo>
                      <a:pt x="2559" y="4098"/>
                    </a:lnTo>
                    <a:lnTo>
                      <a:pt x="2518" y="4102"/>
                    </a:lnTo>
                    <a:lnTo>
                      <a:pt x="2470" y="4131"/>
                    </a:lnTo>
                    <a:cubicBezTo>
                      <a:pt x="2470" y="4131"/>
                      <a:pt x="2470" y="4158"/>
                      <a:pt x="2455" y="4158"/>
                    </a:cubicBezTo>
                    <a:cubicBezTo>
                      <a:pt x="2439" y="4158"/>
                      <a:pt x="2435" y="4133"/>
                      <a:pt x="2435" y="4133"/>
                    </a:cubicBezTo>
                    <a:lnTo>
                      <a:pt x="2423" y="4117"/>
                    </a:lnTo>
                    <a:lnTo>
                      <a:pt x="2386" y="4112"/>
                    </a:lnTo>
                    <a:cubicBezTo>
                      <a:pt x="2386" y="4112"/>
                      <a:pt x="2364" y="4079"/>
                      <a:pt x="2355" y="4079"/>
                    </a:cubicBezTo>
                    <a:cubicBezTo>
                      <a:pt x="2346" y="4079"/>
                      <a:pt x="2309" y="4074"/>
                      <a:pt x="2309" y="4074"/>
                    </a:cubicBezTo>
                    <a:lnTo>
                      <a:pt x="2282" y="4086"/>
                    </a:lnTo>
                    <a:lnTo>
                      <a:pt x="2222" y="4081"/>
                    </a:lnTo>
                    <a:lnTo>
                      <a:pt x="2173" y="4032"/>
                    </a:lnTo>
                    <a:lnTo>
                      <a:pt x="2131" y="4004"/>
                    </a:lnTo>
                    <a:lnTo>
                      <a:pt x="2016" y="3997"/>
                    </a:lnTo>
                    <a:lnTo>
                      <a:pt x="1967" y="3979"/>
                    </a:lnTo>
                    <a:lnTo>
                      <a:pt x="1897" y="3979"/>
                    </a:lnTo>
                    <a:lnTo>
                      <a:pt x="1876" y="3993"/>
                    </a:lnTo>
                    <a:lnTo>
                      <a:pt x="1836" y="3988"/>
                    </a:lnTo>
                    <a:lnTo>
                      <a:pt x="1783" y="4018"/>
                    </a:lnTo>
                    <a:lnTo>
                      <a:pt x="1731" y="4042"/>
                    </a:lnTo>
                    <a:lnTo>
                      <a:pt x="1689" y="4081"/>
                    </a:lnTo>
                    <a:lnTo>
                      <a:pt x="1607" y="4077"/>
                    </a:lnTo>
                    <a:lnTo>
                      <a:pt x="1561" y="4063"/>
                    </a:lnTo>
                    <a:lnTo>
                      <a:pt x="1526" y="4095"/>
                    </a:lnTo>
                    <a:lnTo>
                      <a:pt x="1497" y="4093"/>
                    </a:lnTo>
                    <a:lnTo>
                      <a:pt x="1455" y="4056"/>
                    </a:lnTo>
                    <a:lnTo>
                      <a:pt x="1416" y="4032"/>
                    </a:lnTo>
                    <a:lnTo>
                      <a:pt x="1430" y="4012"/>
                    </a:lnTo>
                    <a:lnTo>
                      <a:pt x="1453" y="4005"/>
                    </a:lnTo>
                    <a:cubicBezTo>
                      <a:pt x="1453" y="4005"/>
                      <a:pt x="1446" y="3977"/>
                      <a:pt x="1435" y="3974"/>
                    </a:cubicBezTo>
                    <a:cubicBezTo>
                      <a:pt x="1425" y="3970"/>
                      <a:pt x="1372" y="3969"/>
                      <a:pt x="1372" y="3969"/>
                    </a:cubicBezTo>
                    <a:lnTo>
                      <a:pt x="1317" y="3967"/>
                    </a:lnTo>
                    <a:lnTo>
                      <a:pt x="1276" y="3937"/>
                    </a:lnTo>
                    <a:cubicBezTo>
                      <a:pt x="1276" y="3937"/>
                      <a:pt x="1210" y="3930"/>
                      <a:pt x="1198" y="3929"/>
                    </a:cubicBezTo>
                    <a:cubicBezTo>
                      <a:pt x="1185" y="3927"/>
                      <a:pt x="1114" y="3885"/>
                      <a:pt x="1105" y="3885"/>
                    </a:cubicBezTo>
                    <a:cubicBezTo>
                      <a:pt x="1096" y="3885"/>
                      <a:pt x="1079" y="3876"/>
                      <a:pt x="1079" y="3876"/>
                    </a:cubicBezTo>
                    <a:lnTo>
                      <a:pt x="1070" y="3848"/>
                    </a:lnTo>
                    <a:lnTo>
                      <a:pt x="965" y="3759"/>
                    </a:lnTo>
                    <a:lnTo>
                      <a:pt x="920" y="3708"/>
                    </a:lnTo>
                    <a:lnTo>
                      <a:pt x="885" y="3707"/>
                    </a:lnTo>
                    <a:lnTo>
                      <a:pt x="850" y="3696"/>
                    </a:lnTo>
                    <a:lnTo>
                      <a:pt x="750" y="3696"/>
                    </a:lnTo>
                    <a:lnTo>
                      <a:pt x="708" y="3693"/>
                    </a:lnTo>
                    <a:lnTo>
                      <a:pt x="692" y="3703"/>
                    </a:lnTo>
                    <a:lnTo>
                      <a:pt x="661" y="3701"/>
                    </a:lnTo>
                    <a:lnTo>
                      <a:pt x="633" y="3715"/>
                    </a:lnTo>
                    <a:lnTo>
                      <a:pt x="607" y="3703"/>
                    </a:lnTo>
                    <a:lnTo>
                      <a:pt x="588" y="3689"/>
                    </a:lnTo>
                    <a:lnTo>
                      <a:pt x="561" y="3699"/>
                    </a:lnTo>
                    <a:lnTo>
                      <a:pt x="547" y="3719"/>
                    </a:lnTo>
                    <a:lnTo>
                      <a:pt x="483" y="3734"/>
                    </a:lnTo>
                    <a:cubicBezTo>
                      <a:pt x="483" y="3734"/>
                      <a:pt x="439" y="3745"/>
                      <a:pt x="428" y="3743"/>
                    </a:cubicBezTo>
                    <a:cubicBezTo>
                      <a:pt x="418" y="3741"/>
                      <a:pt x="374" y="3684"/>
                      <a:pt x="374" y="3684"/>
                    </a:cubicBezTo>
                    <a:lnTo>
                      <a:pt x="367" y="3637"/>
                    </a:lnTo>
                    <a:lnTo>
                      <a:pt x="306" y="3572"/>
                    </a:lnTo>
                    <a:lnTo>
                      <a:pt x="285" y="3544"/>
                    </a:lnTo>
                    <a:lnTo>
                      <a:pt x="254" y="3542"/>
                    </a:lnTo>
                    <a:cubicBezTo>
                      <a:pt x="254" y="3542"/>
                      <a:pt x="255" y="3505"/>
                      <a:pt x="243" y="3500"/>
                    </a:cubicBezTo>
                    <a:cubicBezTo>
                      <a:pt x="231" y="3495"/>
                      <a:pt x="205" y="3483"/>
                      <a:pt x="205" y="3483"/>
                    </a:cubicBezTo>
                    <a:lnTo>
                      <a:pt x="147" y="3472"/>
                    </a:lnTo>
                    <a:lnTo>
                      <a:pt x="137" y="3457"/>
                    </a:lnTo>
                    <a:lnTo>
                      <a:pt x="133" y="3411"/>
                    </a:lnTo>
                    <a:lnTo>
                      <a:pt x="110" y="3380"/>
                    </a:lnTo>
                    <a:lnTo>
                      <a:pt x="81" y="3332"/>
                    </a:lnTo>
                    <a:cubicBezTo>
                      <a:pt x="81" y="3332"/>
                      <a:pt x="56" y="3310"/>
                      <a:pt x="47" y="3308"/>
                    </a:cubicBezTo>
                    <a:cubicBezTo>
                      <a:pt x="39" y="3306"/>
                      <a:pt x="14" y="3280"/>
                      <a:pt x="14" y="3280"/>
                    </a:cubicBezTo>
                    <a:lnTo>
                      <a:pt x="9" y="3233"/>
                    </a:lnTo>
                    <a:lnTo>
                      <a:pt x="2" y="3135"/>
                    </a:lnTo>
                    <a:lnTo>
                      <a:pt x="0" y="3074"/>
                    </a:lnTo>
                    <a:lnTo>
                      <a:pt x="2" y="2906"/>
                    </a:lnTo>
                    <a:lnTo>
                      <a:pt x="21" y="2892"/>
                    </a:lnTo>
                    <a:lnTo>
                      <a:pt x="25" y="2845"/>
                    </a:lnTo>
                    <a:lnTo>
                      <a:pt x="53" y="2831"/>
                    </a:lnTo>
                    <a:cubicBezTo>
                      <a:pt x="69" y="2823"/>
                      <a:pt x="102" y="2818"/>
                      <a:pt x="102" y="2818"/>
                    </a:cubicBezTo>
                    <a:lnTo>
                      <a:pt x="122" y="2790"/>
                    </a:lnTo>
                    <a:cubicBezTo>
                      <a:pt x="122" y="2790"/>
                      <a:pt x="114" y="2770"/>
                      <a:pt x="133" y="2761"/>
                    </a:cubicBezTo>
                    <a:cubicBezTo>
                      <a:pt x="152" y="2753"/>
                      <a:pt x="159" y="2756"/>
                      <a:pt x="159" y="2756"/>
                    </a:cubicBezTo>
                    <a:lnTo>
                      <a:pt x="191" y="2768"/>
                    </a:lnTo>
                    <a:lnTo>
                      <a:pt x="217" y="2742"/>
                    </a:lnTo>
                    <a:lnTo>
                      <a:pt x="215" y="2698"/>
                    </a:lnTo>
                    <a:lnTo>
                      <a:pt x="234" y="2689"/>
                    </a:lnTo>
                    <a:lnTo>
                      <a:pt x="196" y="2684"/>
                    </a:lnTo>
                    <a:lnTo>
                      <a:pt x="171" y="2703"/>
                    </a:lnTo>
                    <a:lnTo>
                      <a:pt x="191" y="2722"/>
                    </a:lnTo>
                    <a:lnTo>
                      <a:pt x="185" y="2742"/>
                    </a:lnTo>
                    <a:cubicBezTo>
                      <a:pt x="185" y="2742"/>
                      <a:pt x="158" y="2742"/>
                      <a:pt x="149" y="2742"/>
                    </a:cubicBezTo>
                    <a:cubicBezTo>
                      <a:pt x="140" y="2741"/>
                      <a:pt x="116" y="2749"/>
                      <a:pt x="116" y="2749"/>
                    </a:cubicBezTo>
                    <a:lnTo>
                      <a:pt x="91" y="2778"/>
                    </a:lnTo>
                    <a:lnTo>
                      <a:pt x="74" y="2801"/>
                    </a:lnTo>
                    <a:cubicBezTo>
                      <a:pt x="74" y="2801"/>
                      <a:pt x="44" y="2804"/>
                      <a:pt x="37" y="2794"/>
                    </a:cubicBezTo>
                    <a:cubicBezTo>
                      <a:pt x="30" y="2783"/>
                      <a:pt x="26" y="2764"/>
                      <a:pt x="26" y="2764"/>
                    </a:cubicBezTo>
                    <a:lnTo>
                      <a:pt x="44" y="2736"/>
                    </a:lnTo>
                    <a:lnTo>
                      <a:pt x="42" y="2701"/>
                    </a:lnTo>
                    <a:cubicBezTo>
                      <a:pt x="42" y="2701"/>
                      <a:pt x="16" y="2670"/>
                      <a:pt x="16" y="2656"/>
                    </a:cubicBezTo>
                    <a:cubicBezTo>
                      <a:pt x="16" y="2642"/>
                      <a:pt x="16" y="2612"/>
                      <a:pt x="16" y="2612"/>
                    </a:cubicBezTo>
                    <a:lnTo>
                      <a:pt x="42" y="2595"/>
                    </a:lnTo>
                    <a:lnTo>
                      <a:pt x="82" y="2595"/>
                    </a:lnTo>
                    <a:cubicBezTo>
                      <a:pt x="82" y="2595"/>
                      <a:pt x="112" y="2586"/>
                      <a:pt x="128" y="2575"/>
                    </a:cubicBezTo>
                    <a:cubicBezTo>
                      <a:pt x="144" y="2565"/>
                      <a:pt x="170" y="2547"/>
                      <a:pt x="175" y="2523"/>
                    </a:cubicBezTo>
                    <a:cubicBezTo>
                      <a:pt x="180" y="2499"/>
                      <a:pt x="189" y="2441"/>
                      <a:pt x="189" y="2441"/>
                    </a:cubicBezTo>
                    <a:lnTo>
                      <a:pt x="199" y="2394"/>
                    </a:lnTo>
                    <a:lnTo>
                      <a:pt x="189" y="2317"/>
                    </a:lnTo>
                    <a:lnTo>
                      <a:pt x="161" y="2238"/>
                    </a:lnTo>
                    <a:lnTo>
                      <a:pt x="154" y="2198"/>
                    </a:lnTo>
                    <a:lnTo>
                      <a:pt x="163" y="2175"/>
                    </a:lnTo>
                    <a:lnTo>
                      <a:pt x="163" y="2130"/>
                    </a:lnTo>
                    <a:lnTo>
                      <a:pt x="130" y="2046"/>
                    </a:lnTo>
                    <a:lnTo>
                      <a:pt x="131" y="1974"/>
                    </a:lnTo>
                    <a:lnTo>
                      <a:pt x="161" y="1934"/>
                    </a:lnTo>
                    <a:lnTo>
                      <a:pt x="199" y="1897"/>
                    </a:lnTo>
                    <a:lnTo>
                      <a:pt x="189" y="1850"/>
                    </a:lnTo>
                    <a:lnTo>
                      <a:pt x="138" y="1805"/>
                    </a:lnTo>
                    <a:lnTo>
                      <a:pt x="144" y="1754"/>
                    </a:lnTo>
                    <a:lnTo>
                      <a:pt x="154" y="1682"/>
                    </a:lnTo>
                    <a:lnTo>
                      <a:pt x="166" y="1649"/>
                    </a:lnTo>
                    <a:lnTo>
                      <a:pt x="163" y="1605"/>
                    </a:lnTo>
                    <a:lnTo>
                      <a:pt x="126" y="1572"/>
                    </a:lnTo>
                    <a:cubicBezTo>
                      <a:pt x="126" y="1572"/>
                      <a:pt x="117" y="1548"/>
                      <a:pt x="124" y="1530"/>
                    </a:cubicBezTo>
                    <a:cubicBezTo>
                      <a:pt x="131" y="1513"/>
                      <a:pt x="152" y="1509"/>
                      <a:pt x="168" y="1509"/>
                    </a:cubicBezTo>
                    <a:cubicBezTo>
                      <a:pt x="184" y="1509"/>
                      <a:pt x="217" y="1485"/>
                      <a:pt x="219" y="1472"/>
                    </a:cubicBezTo>
                    <a:cubicBezTo>
                      <a:pt x="220" y="1460"/>
                      <a:pt x="234" y="1423"/>
                      <a:pt x="243" y="1395"/>
                    </a:cubicBezTo>
                    <a:cubicBezTo>
                      <a:pt x="252" y="1367"/>
                      <a:pt x="259" y="1334"/>
                      <a:pt x="259" y="1313"/>
                    </a:cubicBezTo>
                    <a:cubicBezTo>
                      <a:pt x="259" y="1292"/>
                      <a:pt x="248" y="1254"/>
                      <a:pt x="248" y="1254"/>
                    </a:cubicBezTo>
                    <a:lnTo>
                      <a:pt x="213" y="1221"/>
                    </a:lnTo>
                    <a:cubicBezTo>
                      <a:pt x="213" y="1221"/>
                      <a:pt x="203" y="1212"/>
                      <a:pt x="203" y="1187"/>
                    </a:cubicBezTo>
                    <a:cubicBezTo>
                      <a:pt x="203" y="1163"/>
                      <a:pt x="222" y="1145"/>
                      <a:pt x="222" y="1145"/>
                    </a:cubicBezTo>
                    <a:lnTo>
                      <a:pt x="250" y="1124"/>
                    </a:lnTo>
                    <a:lnTo>
                      <a:pt x="257" y="1051"/>
                    </a:lnTo>
                    <a:lnTo>
                      <a:pt x="308" y="1000"/>
                    </a:lnTo>
                    <a:lnTo>
                      <a:pt x="308" y="897"/>
                    </a:lnTo>
                    <a:lnTo>
                      <a:pt x="329" y="848"/>
                    </a:lnTo>
                    <a:lnTo>
                      <a:pt x="334" y="770"/>
                    </a:lnTo>
                    <a:lnTo>
                      <a:pt x="317" y="735"/>
                    </a:lnTo>
                    <a:lnTo>
                      <a:pt x="317" y="701"/>
                    </a:lnTo>
                    <a:lnTo>
                      <a:pt x="359" y="693"/>
                    </a:lnTo>
                    <a:lnTo>
                      <a:pt x="392" y="686"/>
                    </a:lnTo>
                    <a:cubicBezTo>
                      <a:pt x="392" y="686"/>
                      <a:pt x="393" y="645"/>
                      <a:pt x="393" y="621"/>
                    </a:cubicBezTo>
                    <a:cubicBezTo>
                      <a:pt x="393" y="597"/>
                      <a:pt x="387" y="555"/>
                      <a:pt x="387" y="555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22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1" name="CaixaDeTexto 120"/>
            <p:cNvSpPr txBox="1"/>
            <p:nvPr/>
          </p:nvSpPr>
          <p:spPr>
            <a:xfrm>
              <a:off x="9231623" y="2026925"/>
              <a:ext cx="945060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</a:rPr>
                <a:t>Pernambuco</a:t>
              </a:r>
              <a:endParaRPr lang="en-US" sz="900" b="1" dirty="0">
                <a:solidFill>
                  <a:prstClr val="black"/>
                </a:solidFill>
              </a:endParaRPr>
            </a:p>
          </p:txBody>
        </p:sp>
        <p:sp>
          <p:nvSpPr>
            <p:cNvPr id="122" name="CaixaDeTexto 121"/>
            <p:cNvSpPr txBox="1"/>
            <p:nvPr/>
          </p:nvSpPr>
          <p:spPr>
            <a:xfrm>
              <a:off x="6747757" y="2607605"/>
              <a:ext cx="951472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Mato Grosso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23" name="CaixaDeTexto 122"/>
            <p:cNvSpPr txBox="1"/>
            <p:nvPr/>
          </p:nvSpPr>
          <p:spPr>
            <a:xfrm>
              <a:off x="8333365" y="2506853"/>
              <a:ext cx="560339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Bahia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24" name="CaixaDeTexto 123"/>
            <p:cNvSpPr txBox="1"/>
            <p:nvPr/>
          </p:nvSpPr>
          <p:spPr>
            <a:xfrm>
              <a:off x="8322648" y="1889700"/>
              <a:ext cx="521867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Piauí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25" name="CaixaDeTexto 124"/>
            <p:cNvSpPr txBox="1"/>
            <p:nvPr/>
          </p:nvSpPr>
          <p:spPr>
            <a:xfrm>
              <a:off x="7565428" y="2237915"/>
              <a:ext cx="791172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Tocantins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26" name="CaixaDeTexto 125"/>
            <p:cNvSpPr txBox="1"/>
            <p:nvPr/>
          </p:nvSpPr>
          <p:spPr>
            <a:xfrm>
              <a:off x="9179059" y="1743351"/>
              <a:ext cx="1374665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</a:rPr>
                <a:t>Rio Grande do Norte</a:t>
              </a:r>
              <a:endParaRPr lang="en-US" sz="900" b="1" dirty="0">
                <a:solidFill>
                  <a:prstClr val="black"/>
                </a:solidFill>
              </a:endParaRPr>
            </a:p>
          </p:txBody>
        </p:sp>
        <p:sp>
          <p:nvSpPr>
            <p:cNvPr id="127" name="CaixaDeTexto 126"/>
            <p:cNvSpPr txBox="1"/>
            <p:nvPr/>
          </p:nvSpPr>
          <p:spPr>
            <a:xfrm>
              <a:off x="7435904" y="3544265"/>
              <a:ext cx="803996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São Paulo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31" name="CaixaDeTexto 130"/>
            <p:cNvSpPr txBox="1"/>
            <p:nvPr/>
          </p:nvSpPr>
          <p:spPr>
            <a:xfrm>
              <a:off x="6944983" y="5115389"/>
              <a:ext cx="714227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</a:rPr>
                <a:t>Uruguay</a:t>
              </a:r>
              <a:endParaRPr lang="en-US" sz="900" b="1" dirty="0">
                <a:solidFill>
                  <a:prstClr val="black"/>
                </a:solidFill>
              </a:endParaRPr>
            </a:p>
          </p:txBody>
        </p:sp>
        <p:sp>
          <p:nvSpPr>
            <p:cNvPr id="282" name="Freeform 168"/>
            <p:cNvSpPr>
              <a:spLocks/>
            </p:cNvSpPr>
            <p:nvPr/>
          </p:nvSpPr>
          <p:spPr bwMode="auto">
            <a:xfrm rot="21381606">
              <a:off x="8235095" y="3540975"/>
              <a:ext cx="416380" cy="296758"/>
            </a:xfrm>
            <a:custGeom>
              <a:avLst/>
              <a:gdLst>
                <a:gd name="T0" fmla="*/ 2147483647 w 3192"/>
                <a:gd name="T1" fmla="*/ 2147483647 h 2109"/>
                <a:gd name="T2" fmla="*/ 2147483647 w 3192"/>
                <a:gd name="T3" fmla="*/ 0 h 2109"/>
                <a:gd name="T4" fmla="*/ 2147483647 w 3192"/>
                <a:gd name="T5" fmla="*/ 0 h 2109"/>
                <a:gd name="T6" fmla="*/ 2147483647 w 3192"/>
                <a:gd name="T7" fmla="*/ 2147483647 h 2109"/>
                <a:gd name="T8" fmla="*/ 2147483647 w 3192"/>
                <a:gd name="T9" fmla="*/ 2147483647 h 2109"/>
                <a:gd name="T10" fmla="*/ 2147483647 w 3192"/>
                <a:gd name="T11" fmla="*/ 2147483647 h 2109"/>
                <a:gd name="T12" fmla="*/ 2147483647 w 3192"/>
                <a:gd name="T13" fmla="*/ 2147483647 h 2109"/>
                <a:gd name="T14" fmla="*/ 2147483647 w 3192"/>
                <a:gd name="T15" fmla="*/ 2147483647 h 2109"/>
                <a:gd name="T16" fmla="*/ 2147483647 w 3192"/>
                <a:gd name="T17" fmla="*/ 2147483647 h 2109"/>
                <a:gd name="T18" fmla="*/ 2147483647 w 3192"/>
                <a:gd name="T19" fmla="*/ 2147483647 h 2109"/>
                <a:gd name="T20" fmla="*/ 2147483647 w 3192"/>
                <a:gd name="T21" fmla="*/ 2147483647 h 2109"/>
                <a:gd name="T22" fmla="*/ 0 w 3192"/>
                <a:gd name="T23" fmla="*/ 2147483647 h 2109"/>
                <a:gd name="T24" fmla="*/ 2147483647 w 3192"/>
                <a:gd name="T25" fmla="*/ 2147483647 h 2109"/>
                <a:gd name="T26" fmla="*/ 2147483647 w 3192"/>
                <a:gd name="T27" fmla="*/ 2147483647 h 2109"/>
                <a:gd name="T28" fmla="*/ 2147483647 w 3192"/>
                <a:gd name="T29" fmla="*/ 2147483647 h 2109"/>
                <a:gd name="T30" fmla="*/ 2147483647 w 3192"/>
                <a:gd name="T31" fmla="*/ 2147483647 h 2109"/>
                <a:gd name="T32" fmla="*/ 2147483647 w 3192"/>
                <a:gd name="T33" fmla="*/ 2147483647 h 2109"/>
                <a:gd name="T34" fmla="*/ 2147483647 w 3192"/>
                <a:gd name="T35" fmla="*/ 2147483647 h 2109"/>
                <a:gd name="T36" fmla="*/ 2147483647 w 3192"/>
                <a:gd name="T37" fmla="*/ 2147483647 h 2109"/>
                <a:gd name="T38" fmla="*/ 2147483647 w 3192"/>
                <a:gd name="T39" fmla="*/ 2147483647 h 2109"/>
                <a:gd name="T40" fmla="*/ 2147483647 w 3192"/>
                <a:gd name="T41" fmla="*/ 2147483647 h 2109"/>
                <a:gd name="T42" fmla="*/ 2147483647 w 3192"/>
                <a:gd name="T43" fmla="*/ 2147483647 h 2109"/>
                <a:gd name="T44" fmla="*/ 2147483647 w 3192"/>
                <a:gd name="T45" fmla="*/ 2147483647 h 2109"/>
                <a:gd name="T46" fmla="*/ 2147483647 w 3192"/>
                <a:gd name="T47" fmla="*/ 2147483647 h 2109"/>
                <a:gd name="T48" fmla="*/ 2147483647 w 3192"/>
                <a:gd name="T49" fmla="*/ 2147483647 h 2109"/>
                <a:gd name="T50" fmla="*/ 2147483647 w 3192"/>
                <a:gd name="T51" fmla="*/ 2147483647 h 2109"/>
                <a:gd name="T52" fmla="*/ 2147483647 w 3192"/>
                <a:gd name="T53" fmla="*/ 2147483647 h 2109"/>
                <a:gd name="T54" fmla="*/ 2147483647 w 3192"/>
                <a:gd name="T55" fmla="*/ 2147483647 h 2109"/>
                <a:gd name="T56" fmla="*/ 2147483647 w 3192"/>
                <a:gd name="T57" fmla="*/ 2147483647 h 2109"/>
                <a:gd name="T58" fmla="*/ 2147483647 w 3192"/>
                <a:gd name="T59" fmla="*/ 2147483647 h 21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192" h="2109">
                  <a:moveTo>
                    <a:pt x="3192" y="438"/>
                  </a:moveTo>
                  <a:cubicBezTo>
                    <a:pt x="2954" y="253"/>
                    <a:pt x="2547" y="478"/>
                    <a:pt x="2583" y="0"/>
                  </a:cubicBezTo>
                  <a:lnTo>
                    <a:pt x="2427" y="0"/>
                  </a:lnTo>
                  <a:cubicBezTo>
                    <a:pt x="2293" y="141"/>
                    <a:pt x="2086" y="386"/>
                    <a:pt x="2086" y="616"/>
                  </a:cubicBezTo>
                  <a:cubicBezTo>
                    <a:pt x="2086" y="832"/>
                    <a:pt x="1581" y="913"/>
                    <a:pt x="1477" y="973"/>
                  </a:cubicBezTo>
                  <a:cubicBezTo>
                    <a:pt x="1343" y="1062"/>
                    <a:pt x="1172" y="951"/>
                    <a:pt x="994" y="951"/>
                  </a:cubicBezTo>
                  <a:cubicBezTo>
                    <a:pt x="861" y="951"/>
                    <a:pt x="683" y="1040"/>
                    <a:pt x="578" y="1077"/>
                  </a:cubicBezTo>
                  <a:cubicBezTo>
                    <a:pt x="348" y="1136"/>
                    <a:pt x="230" y="1151"/>
                    <a:pt x="29" y="1262"/>
                  </a:cubicBezTo>
                  <a:cubicBezTo>
                    <a:pt x="89" y="1285"/>
                    <a:pt x="118" y="1329"/>
                    <a:pt x="163" y="1374"/>
                  </a:cubicBezTo>
                  <a:cubicBezTo>
                    <a:pt x="222" y="1433"/>
                    <a:pt x="482" y="1403"/>
                    <a:pt x="527" y="1418"/>
                  </a:cubicBezTo>
                  <a:cubicBezTo>
                    <a:pt x="601" y="1522"/>
                    <a:pt x="445" y="1589"/>
                    <a:pt x="386" y="1611"/>
                  </a:cubicBezTo>
                  <a:cubicBezTo>
                    <a:pt x="215" y="1670"/>
                    <a:pt x="0" y="1619"/>
                    <a:pt x="0" y="1886"/>
                  </a:cubicBezTo>
                  <a:cubicBezTo>
                    <a:pt x="0" y="1953"/>
                    <a:pt x="133" y="2109"/>
                    <a:pt x="133" y="2109"/>
                  </a:cubicBezTo>
                  <a:cubicBezTo>
                    <a:pt x="192" y="2086"/>
                    <a:pt x="252" y="2057"/>
                    <a:pt x="259" y="1975"/>
                  </a:cubicBezTo>
                  <a:cubicBezTo>
                    <a:pt x="267" y="1953"/>
                    <a:pt x="170" y="1930"/>
                    <a:pt x="170" y="1871"/>
                  </a:cubicBezTo>
                  <a:cubicBezTo>
                    <a:pt x="170" y="1760"/>
                    <a:pt x="289" y="1849"/>
                    <a:pt x="333" y="1752"/>
                  </a:cubicBezTo>
                  <a:cubicBezTo>
                    <a:pt x="438" y="1700"/>
                    <a:pt x="348" y="1841"/>
                    <a:pt x="504" y="1841"/>
                  </a:cubicBezTo>
                  <a:cubicBezTo>
                    <a:pt x="593" y="1841"/>
                    <a:pt x="593" y="1737"/>
                    <a:pt x="727" y="1737"/>
                  </a:cubicBezTo>
                  <a:cubicBezTo>
                    <a:pt x="757" y="1737"/>
                    <a:pt x="823" y="1745"/>
                    <a:pt x="838" y="1775"/>
                  </a:cubicBezTo>
                  <a:cubicBezTo>
                    <a:pt x="823" y="1797"/>
                    <a:pt x="660" y="1782"/>
                    <a:pt x="683" y="1856"/>
                  </a:cubicBezTo>
                  <a:cubicBezTo>
                    <a:pt x="846" y="1856"/>
                    <a:pt x="1091" y="1834"/>
                    <a:pt x="1247" y="1834"/>
                  </a:cubicBezTo>
                  <a:lnTo>
                    <a:pt x="1299" y="1626"/>
                  </a:lnTo>
                  <a:cubicBezTo>
                    <a:pt x="1358" y="1626"/>
                    <a:pt x="1403" y="1582"/>
                    <a:pt x="1403" y="1663"/>
                  </a:cubicBezTo>
                  <a:cubicBezTo>
                    <a:pt x="1403" y="1700"/>
                    <a:pt x="1351" y="1737"/>
                    <a:pt x="1351" y="1797"/>
                  </a:cubicBezTo>
                  <a:cubicBezTo>
                    <a:pt x="1447" y="1879"/>
                    <a:pt x="1885" y="1760"/>
                    <a:pt x="1982" y="1812"/>
                  </a:cubicBezTo>
                  <a:cubicBezTo>
                    <a:pt x="2264" y="1953"/>
                    <a:pt x="2338" y="1760"/>
                    <a:pt x="2279" y="1708"/>
                  </a:cubicBezTo>
                  <a:cubicBezTo>
                    <a:pt x="2212" y="1648"/>
                    <a:pt x="2353" y="1388"/>
                    <a:pt x="2583" y="1314"/>
                  </a:cubicBezTo>
                  <a:cubicBezTo>
                    <a:pt x="2858" y="1225"/>
                    <a:pt x="3140" y="1218"/>
                    <a:pt x="3132" y="988"/>
                  </a:cubicBezTo>
                  <a:cubicBezTo>
                    <a:pt x="3132" y="861"/>
                    <a:pt x="3110" y="728"/>
                    <a:pt x="3132" y="572"/>
                  </a:cubicBezTo>
                  <a:cubicBezTo>
                    <a:pt x="3147" y="527"/>
                    <a:pt x="3169" y="468"/>
                    <a:pt x="3192" y="438"/>
                  </a:cubicBezTo>
                  <a:close/>
                </a:path>
              </a:pathLst>
            </a:custGeom>
            <a:solidFill>
              <a:srgbClr val="33CCCC"/>
            </a:solidFill>
            <a:ln w="6350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lIns="96020" tIns="48011" rIns="96020" bIns="48011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0" name="CaixaDeTexto 289"/>
            <p:cNvSpPr txBox="1"/>
            <p:nvPr/>
          </p:nvSpPr>
          <p:spPr>
            <a:xfrm>
              <a:off x="8439527" y="3639506"/>
              <a:ext cx="1041240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</a:rPr>
                <a:t>Rio de Janeiro</a:t>
              </a:r>
              <a:endParaRPr lang="en-US" sz="900" b="1" dirty="0">
                <a:solidFill>
                  <a:prstClr val="black"/>
                </a:solidFill>
              </a:endParaRPr>
            </a:p>
          </p:txBody>
        </p:sp>
        <p:sp>
          <p:nvSpPr>
            <p:cNvPr id="287" name="CaixaDeTexto 286"/>
            <p:cNvSpPr txBox="1"/>
            <p:nvPr/>
          </p:nvSpPr>
          <p:spPr>
            <a:xfrm>
              <a:off x="7275001" y="3876046"/>
              <a:ext cx="630871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Paraná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299" name="CaixaDeTexto 298"/>
            <p:cNvSpPr txBox="1"/>
            <p:nvPr/>
          </p:nvSpPr>
          <p:spPr>
            <a:xfrm>
              <a:off x="7489442" y="2892919"/>
              <a:ext cx="566751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Goiás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42" name="CaixaDeTexto 141"/>
            <p:cNvSpPr txBox="1"/>
            <p:nvPr/>
          </p:nvSpPr>
          <p:spPr>
            <a:xfrm>
              <a:off x="7802399" y="3216183"/>
              <a:ext cx="964296" cy="261574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</a:rPr>
                <a:t>Minas Gerais</a:t>
              </a:r>
              <a:endParaRPr lang="en-US" sz="9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1" name="CaixaDeTexto 140"/>
          <p:cNvSpPr txBox="1"/>
          <p:nvPr/>
        </p:nvSpPr>
        <p:spPr>
          <a:xfrm>
            <a:off x="681680" y="332657"/>
            <a:ext cx="70135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ação Renovável</a:t>
            </a:r>
          </a:p>
        </p:txBody>
      </p:sp>
      <p:sp>
        <p:nvSpPr>
          <p:cNvPr id="156" name="Rectangle 5"/>
          <p:cNvSpPr>
            <a:spLocks noChangeArrowheads="1"/>
          </p:cNvSpPr>
          <p:nvPr/>
        </p:nvSpPr>
        <p:spPr bwMode="auto">
          <a:xfrm>
            <a:off x="479377" y="332657"/>
            <a:ext cx="184330" cy="64633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pic>
        <p:nvPicPr>
          <p:cNvPr id="26" name="Imagem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4647950"/>
            <a:ext cx="144016" cy="144020"/>
          </a:xfrm>
          <a:prstGeom prst="rect">
            <a:avLst/>
          </a:prstGeom>
        </p:spPr>
      </p:pic>
      <p:pic>
        <p:nvPicPr>
          <p:cNvPr id="28" name="Imagem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1406163"/>
            <a:ext cx="144016" cy="144020"/>
          </a:xfrm>
          <a:prstGeom prst="rect">
            <a:avLst/>
          </a:prstGeom>
        </p:spPr>
      </p:pic>
      <p:pic>
        <p:nvPicPr>
          <p:cNvPr id="167" name="Imagem 16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1090796"/>
            <a:ext cx="144016" cy="144020"/>
          </a:xfrm>
          <a:prstGeom prst="rect">
            <a:avLst/>
          </a:prstGeom>
        </p:spPr>
      </p:pic>
      <p:sp>
        <p:nvSpPr>
          <p:cNvPr id="169" name="Rectangle 5"/>
          <p:cNvSpPr>
            <a:spLocks noChangeArrowheads="1"/>
          </p:cNvSpPr>
          <p:nvPr/>
        </p:nvSpPr>
        <p:spPr bwMode="auto">
          <a:xfrm>
            <a:off x="12361862" y="922339"/>
            <a:ext cx="520700" cy="515937"/>
          </a:xfrm>
          <a:prstGeom prst="rect">
            <a:avLst/>
          </a:prstGeom>
          <a:solidFill>
            <a:srgbClr val="6AC0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0" name="Rectangle 6"/>
          <p:cNvSpPr>
            <a:spLocks noChangeArrowheads="1"/>
          </p:cNvSpPr>
          <p:nvPr/>
        </p:nvSpPr>
        <p:spPr bwMode="auto">
          <a:xfrm>
            <a:off x="12361862" y="1438275"/>
            <a:ext cx="520700" cy="514350"/>
          </a:xfrm>
          <a:prstGeom prst="rect">
            <a:avLst/>
          </a:prstGeom>
          <a:solidFill>
            <a:srgbClr val="00A6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2" name="Rectangle 7"/>
          <p:cNvSpPr>
            <a:spLocks noChangeArrowheads="1"/>
          </p:cNvSpPr>
          <p:nvPr/>
        </p:nvSpPr>
        <p:spPr bwMode="auto">
          <a:xfrm>
            <a:off x="12361862" y="1952626"/>
            <a:ext cx="520700" cy="515937"/>
          </a:xfrm>
          <a:prstGeom prst="rect">
            <a:avLst/>
          </a:prstGeom>
          <a:solidFill>
            <a:srgbClr val="00BF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3" name="Rectangle 8"/>
          <p:cNvSpPr>
            <a:spLocks noChangeArrowheads="1"/>
          </p:cNvSpPr>
          <p:nvPr/>
        </p:nvSpPr>
        <p:spPr bwMode="auto">
          <a:xfrm>
            <a:off x="12361862" y="2468563"/>
            <a:ext cx="520700" cy="514350"/>
          </a:xfrm>
          <a:prstGeom prst="rect">
            <a:avLst/>
          </a:prstGeom>
          <a:solidFill>
            <a:srgbClr val="0077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4" name="Rectangle 9"/>
          <p:cNvSpPr>
            <a:spLocks noChangeArrowheads="1"/>
          </p:cNvSpPr>
          <p:nvPr/>
        </p:nvSpPr>
        <p:spPr bwMode="auto">
          <a:xfrm>
            <a:off x="12361862" y="2982914"/>
            <a:ext cx="520700" cy="515937"/>
          </a:xfrm>
          <a:prstGeom prst="rect">
            <a:avLst/>
          </a:prstGeom>
          <a:solidFill>
            <a:srgbClr val="F171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5" name="Rectangle 10"/>
          <p:cNvSpPr>
            <a:spLocks noChangeArrowheads="1"/>
          </p:cNvSpPr>
          <p:nvPr/>
        </p:nvSpPr>
        <p:spPr bwMode="auto">
          <a:xfrm>
            <a:off x="12361862" y="3498851"/>
            <a:ext cx="520700" cy="515937"/>
          </a:xfrm>
          <a:prstGeom prst="rect">
            <a:avLst/>
          </a:prstGeom>
          <a:solidFill>
            <a:srgbClr val="E105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6" name="Rectangle 11"/>
          <p:cNvSpPr>
            <a:spLocks noChangeArrowheads="1"/>
          </p:cNvSpPr>
          <p:nvPr/>
        </p:nvSpPr>
        <p:spPr bwMode="auto">
          <a:xfrm>
            <a:off x="12361862" y="4014788"/>
            <a:ext cx="520700" cy="514350"/>
          </a:xfrm>
          <a:prstGeom prst="rect">
            <a:avLst/>
          </a:prstGeom>
          <a:solidFill>
            <a:srgbClr val="BCBC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7" name="Rectangle 12"/>
          <p:cNvSpPr>
            <a:spLocks noChangeArrowheads="1"/>
          </p:cNvSpPr>
          <p:nvPr/>
        </p:nvSpPr>
        <p:spPr bwMode="auto">
          <a:xfrm>
            <a:off x="12361862" y="4529139"/>
            <a:ext cx="520700" cy="515937"/>
          </a:xfrm>
          <a:prstGeom prst="rect">
            <a:avLst/>
          </a:prstGeom>
          <a:solidFill>
            <a:srgbClr val="F15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78" name="Rectangle 13"/>
          <p:cNvSpPr>
            <a:spLocks noChangeArrowheads="1"/>
          </p:cNvSpPr>
          <p:nvPr/>
        </p:nvSpPr>
        <p:spPr bwMode="auto">
          <a:xfrm>
            <a:off x="12361862" y="5045075"/>
            <a:ext cx="520700" cy="514350"/>
          </a:xfrm>
          <a:prstGeom prst="rect">
            <a:avLst/>
          </a:prstGeom>
          <a:solidFill>
            <a:srgbClr val="EE2F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pic>
        <p:nvPicPr>
          <p:cNvPr id="148" name="Imagem 1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1247377"/>
            <a:ext cx="144016" cy="144020"/>
          </a:xfrm>
          <a:prstGeom prst="rect">
            <a:avLst/>
          </a:prstGeom>
        </p:spPr>
      </p:pic>
      <p:pic>
        <p:nvPicPr>
          <p:cNvPr id="152" name="Imagem 1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1958431"/>
            <a:ext cx="144016" cy="144020"/>
          </a:xfrm>
          <a:prstGeom prst="rect">
            <a:avLst/>
          </a:prstGeom>
        </p:spPr>
      </p:pic>
      <p:pic>
        <p:nvPicPr>
          <p:cNvPr id="153" name="Imagem 15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2512162"/>
            <a:ext cx="144016" cy="144020"/>
          </a:xfrm>
          <a:prstGeom prst="rect">
            <a:avLst/>
          </a:prstGeom>
        </p:spPr>
      </p:pic>
      <p:pic>
        <p:nvPicPr>
          <p:cNvPr id="154" name="Imagem 15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2670314"/>
            <a:ext cx="144016" cy="144020"/>
          </a:xfrm>
          <a:prstGeom prst="rect">
            <a:avLst/>
          </a:prstGeom>
        </p:spPr>
      </p:pic>
      <p:pic>
        <p:nvPicPr>
          <p:cNvPr id="155" name="Imagem 15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3219698"/>
            <a:ext cx="144016" cy="144020"/>
          </a:xfrm>
          <a:prstGeom prst="rect">
            <a:avLst/>
          </a:prstGeom>
        </p:spPr>
      </p:pic>
      <p:pic>
        <p:nvPicPr>
          <p:cNvPr id="162" name="Imagem 16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3397869"/>
            <a:ext cx="144016" cy="144020"/>
          </a:xfrm>
          <a:prstGeom prst="rect">
            <a:avLst/>
          </a:prstGeom>
        </p:spPr>
      </p:pic>
      <p:pic>
        <p:nvPicPr>
          <p:cNvPr id="165" name="Imagem 16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3568741"/>
            <a:ext cx="144016" cy="144020"/>
          </a:xfrm>
          <a:prstGeom prst="rect">
            <a:avLst/>
          </a:prstGeom>
        </p:spPr>
      </p:pic>
      <p:pic>
        <p:nvPicPr>
          <p:cNvPr id="242" name="Imagem 24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4821397"/>
            <a:ext cx="144016" cy="144020"/>
          </a:xfrm>
          <a:prstGeom prst="rect">
            <a:avLst/>
          </a:prstGeom>
        </p:spPr>
      </p:pic>
      <p:pic>
        <p:nvPicPr>
          <p:cNvPr id="243" name="Imagem 24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4102290"/>
            <a:ext cx="144016" cy="144020"/>
          </a:xfrm>
          <a:prstGeom prst="rect">
            <a:avLst/>
          </a:prstGeom>
        </p:spPr>
      </p:pic>
      <p:pic>
        <p:nvPicPr>
          <p:cNvPr id="249" name="Imagem 24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5359663"/>
            <a:ext cx="144016" cy="144020"/>
          </a:xfrm>
          <a:prstGeom prst="rect">
            <a:avLst/>
          </a:prstGeom>
        </p:spPr>
      </p:pic>
      <p:pic>
        <p:nvPicPr>
          <p:cNvPr id="250" name="Imagem 24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5882912"/>
            <a:ext cx="144016" cy="144020"/>
          </a:xfrm>
          <a:prstGeom prst="rect">
            <a:avLst/>
          </a:prstGeom>
        </p:spPr>
      </p:pic>
      <p:pic>
        <p:nvPicPr>
          <p:cNvPr id="251" name="Imagem 25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112" y="6414596"/>
            <a:ext cx="144016" cy="144020"/>
          </a:xfrm>
          <a:prstGeom prst="rect">
            <a:avLst/>
          </a:prstGeom>
        </p:spPr>
      </p:pic>
      <p:cxnSp>
        <p:nvCxnSpPr>
          <p:cNvPr id="16" name="Conector reto 15"/>
          <p:cNvCxnSpPr/>
          <p:nvPr/>
        </p:nvCxnSpPr>
        <p:spPr>
          <a:xfrm flipH="1">
            <a:off x="6394086" y="975452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/>
        </p:nvCxnSpPr>
        <p:spPr>
          <a:xfrm flipH="1">
            <a:off x="4803550" y="975453"/>
            <a:ext cx="1590538" cy="1563603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Conector reto 253"/>
          <p:cNvCxnSpPr/>
          <p:nvPr/>
        </p:nvCxnSpPr>
        <p:spPr>
          <a:xfrm flipH="1">
            <a:off x="6394086" y="1854552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Conector reto 254"/>
          <p:cNvCxnSpPr>
            <a:endCxn id="126" idx="1"/>
          </p:cNvCxnSpPr>
          <p:nvPr/>
        </p:nvCxnSpPr>
        <p:spPr>
          <a:xfrm flipH="1">
            <a:off x="5322134" y="1854553"/>
            <a:ext cx="1071952" cy="905693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Conector reto 255"/>
          <p:cNvCxnSpPr/>
          <p:nvPr/>
        </p:nvCxnSpPr>
        <p:spPr>
          <a:xfrm flipH="1">
            <a:off x="6394086" y="2391770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ector reto 256"/>
          <p:cNvCxnSpPr/>
          <p:nvPr/>
        </p:nvCxnSpPr>
        <p:spPr>
          <a:xfrm flipH="1">
            <a:off x="5258774" y="2391771"/>
            <a:ext cx="1135314" cy="65803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Conector reto 257"/>
          <p:cNvCxnSpPr/>
          <p:nvPr/>
        </p:nvCxnSpPr>
        <p:spPr>
          <a:xfrm flipH="1">
            <a:off x="6394086" y="3107824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Conector reto 258"/>
          <p:cNvCxnSpPr/>
          <p:nvPr/>
        </p:nvCxnSpPr>
        <p:spPr>
          <a:xfrm flipH="1">
            <a:off x="4884698" y="3107824"/>
            <a:ext cx="1509388" cy="38376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ector reto 259"/>
          <p:cNvCxnSpPr/>
          <p:nvPr/>
        </p:nvCxnSpPr>
        <p:spPr>
          <a:xfrm flipH="1">
            <a:off x="6394086" y="3979844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Conector reto 260"/>
          <p:cNvCxnSpPr/>
          <p:nvPr/>
        </p:nvCxnSpPr>
        <p:spPr>
          <a:xfrm flipH="1" flipV="1">
            <a:off x="4002518" y="3397870"/>
            <a:ext cx="2391568" cy="58197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ector reto 261"/>
          <p:cNvCxnSpPr/>
          <p:nvPr/>
        </p:nvCxnSpPr>
        <p:spPr>
          <a:xfrm flipH="1">
            <a:off x="6394086" y="4532119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Conector reto 262"/>
          <p:cNvCxnSpPr/>
          <p:nvPr/>
        </p:nvCxnSpPr>
        <p:spPr>
          <a:xfrm flipH="1" flipV="1">
            <a:off x="3414360" y="3469879"/>
            <a:ext cx="2979728" cy="106224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Conector reto 263"/>
          <p:cNvCxnSpPr/>
          <p:nvPr/>
        </p:nvCxnSpPr>
        <p:spPr>
          <a:xfrm flipH="1">
            <a:off x="6394086" y="5214538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Conector reto 264"/>
          <p:cNvCxnSpPr/>
          <p:nvPr/>
        </p:nvCxnSpPr>
        <p:spPr>
          <a:xfrm flipH="1" flipV="1">
            <a:off x="3802160" y="4040565"/>
            <a:ext cx="2591927" cy="11754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Conector reto 265"/>
          <p:cNvCxnSpPr/>
          <p:nvPr/>
        </p:nvCxnSpPr>
        <p:spPr>
          <a:xfrm flipH="1">
            <a:off x="6394086" y="5758190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ector reto 266"/>
          <p:cNvCxnSpPr/>
          <p:nvPr/>
        </p:nvCxnSpPr>
        <p:spPr>
          <a:xfrm flipH="1" flipV="1">
            <a:off x="3956040" y="4598794"/>
            <a:ext cx="2438049" cy="115939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Conector reto 267"/>
          <p:cNvCxnSpPr/>
          <p:nvPr/>
        </p:nvCxnSpPr>
        <p:spPr>
          <a:xfrm flipH="1">
            <a:off x="6394086" y="6302146"/>
            <a:ext cx="45207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Conector reto 268"/>
          <p:cNvCxnSpPr/>
          <p:nvPr/>
        </p:nvCxnSpPr>
        <p:spPr>
          <a:xfrm flipH="1" flipV="1">
            <a:off x="3689904" y="4893407"/>
            <a:ext cx="2704185" cy="140874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5"/>
          <p:cNvGrpSpPr>
            <a:grpSpLocks noChangeAspect="1"/>
          </p:cNvGrpSpPr>
          <p:nvPr/>
        </p:nvGrpSpPr>
        <p:grpSpPr bwMode="auto">
          <a:xfrm>
            <a:off x="10424359" y="318746"/>
            <a:ext cx="1328474" cy="665754"/>
            <a:chOff x="-3449" y="-1785"/>
            <a:chExt cx="6959" cy="3487"/>
          </a:xfrm>
          <a:solidFill>
            <a:schemeClr val="bg1"/>
          </a:solidFill>
        </p:grpSpPr>
        <p:sp>
          <p:nvSpPr>
            <p:cNvPr id="129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0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2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3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4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5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6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7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8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39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0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3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4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5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</p:grp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18829" y="6349892"/>
            <a:ext cx="2017951" cy="49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4859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28"/>
          <p:cNvSpPr/>
          <p:nvPr/>
        </p:nvSpPr>
        <p:spPr>
          <a:xfrm>
            <a:off x="794" y="-27384"/>
            <a:ext cx="12190413" cy="6858000"/>
          </a:xfrm>
          <a:prstGeom prst="rect">
            <a:avLst/>
          </a:prstGeom>
          <a:solidFill>
            <a:srgbClr val="BCBCB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091" name="AutoShape 19" descr="Resultado de imagem para enel"/>
          <p:cNvSpPr>
            <a:spLocks noChangeAspect="1" noChangeArrowheads="1"/>
          </p:cNvSpPr>
          <p:nvPr/>
        </p:nvSpPr>
        <p:spPr bwMode="auto">
          <a:xfrm>
            <a:off x="163019" y="-139030"/>
            <a:ext cx="348253" cy="2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020" tIns="48011" rIns="96020" bIns="48011"/>
          <a:lstStyle>
            <a:lvl1pPr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9pPr>
          </a:lstStyle>
          <a:p>
            <a:pPr eaLnBrk="1" hangingPunct="1"/>
            <a:endParaRPr lang="pt-BR" altLang="pt-BR" dirty="0">
              <a:solidFill>
                <a:prstClr val="black"/>
              </a:solidFill>
            </a:endParaRPr>
          </a:p>
        </p:txBody>
      </p:sp>
      <p:sp>
        <p:nvSpPr>
          <p:cNvPr id="3092" name="AutoShape 21" descr="Resultado de imagem para enel"/>
          <p:cNvSpPr>
            <a:spLocks noChangeAspect="1" noChangeArrowheads="1"/>
          </p:cNvSpPr>
          <p:nvPr/>
        </p:nvSpPr>
        <p:spPr bwMode="auto">
          <a:xfrm>
            <a:off x="337145" y="896"/>
            <a:ext cx="348253" cy="27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020" tIns="48011" rIns="96020" bIns="48011"/>
          <a:lstStyle>
            <a:lvl1pPr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  <a:ea typeface="ヒラギノ角ゴ Pro W3" pitchFamily="1" charset="-128"/>
              </a:defRPr>
            </a:lvl9pPr>
          </a:lstStyle>
          <a:p>
            <a:pPr eaLnBrk="1" hangingPunct="1"/>
            <a:endParaRPr lang="pt-BR" altLang="pt-BR" dirty="0">
              <a:solidFill>
                <a:prstClr val="black"/>
              </a:solidFill>
            </a:endParaRPr>
          </a:p>
        </p:txBody>
      </p:sp>
      <p:sp>
        <p:nvSpPr>
          <p:cNvPr id="15" name="Titolo 3"/>
          <p:cNvSpPr txBox="1">
            <a:spLocks/>
          </p:cNvSpPr>
          <p:nvPr/>
        </p:nvSpPr>
        <p:spPr>
          <a:xfrm>
            <a:off x="1805918" y="444371"/>
            <a:ext cx="8556172" cy="479876"/>
          </a:xfrm>
          <a:prstGeom prst="rect">
            <a:avLst/>
          </a:prstGeom>
        </p:spPr>
        <p:txBody>
          <a:bodyPr lIns="96020" tIns="48011" rIns="96020" bIns="4801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sz="3200" dirty="0">
              <a:solidFill>
                <a:srgbClr val="0655FA"/>
              </a:solidFill>
            </a:endParaRPr>
          </a:p>
        </p:txBody>
      </p:sp>
      <p:sp>
        <p:nvSpPr>
          <p:cNvPr id="244" name="AutoShape 3"/>
          <p:cNvSpPr>
            <a:spLocks noChangeArrowheads="1"/>
          </p:cNvSpPr>
          <p:nvPr/>
        </p:nvSpPr>
        <p:spPr bwMode="auto">
          <a:xfrm>
            <a:off x="5735961" y="5719812"/>
            <a:ext cx="3822053" cy="1123712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Total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4.333 MW</a:t>
            </a:r>
          </a:p>
          <a:p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Brasil 4283 MW | Uruguai 50MW 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Verdana" pitchFamily="34" charset="0"/>
            </a:endParaRP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Verdana" pitchFamily="34" charset="0"/>
            </a:endParaRPr>
          </a:p>
        </p:txBody>
      </p:sp>
      <p:sp>
        <p:nvSpPr>
          <p:cNvPr id="245" name="AutoShape 3"/>
          <p:cNvSpPr>
            <a:spLocks noChangeArrowheads="1"/>
          </p:cNvSpPr>
          <p:nvPr/>
        </p:nvSpPr>
        <p:spPr bwMode="auto">
          <a:xfrm>
            <a:off x="9978634" y="5877273"/>
            <a:ext cx="2022023" cy="817245"/>
          </a:xfrm>
          <a:prstGeom prst="roundRect">
            <a:avLst>
              <a:gd name="adj" fmla="val 16667"/>
            </a:avLst>
          </a:prstGeom>
          <a:solidFill>
            <a:srgbClr val="BCBC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1.349 MW</a:t>
            </a:r>
          </a:p>
          <a:p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em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construção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Verdana" pitchFamily="34" charset="0"/>
            </a:endParaRPr>
          </a:p>
        </p:txBody>
      </p:sp>
      <p:sp>
        <p:nvSpPr>
          <p:cNvPr id="39" name="AutoShape 3"/>
          <p:cNvSpPr>
            <a:spLocks noChangeArrowheads="1"/>
          </p:cNvSpPr>
          <p:nvPr/>
        </p:nvSpPr>
        <p:spPr bwMode="auto">
          <a:xfrm>
            <a:off x="478165" y="6279704"/>
            <a:ext cx="4593955" cy="461665"/>
          </a:xfrm>
          <a:prstGeom prst="roundRect">
            <a:avLst>
              <a:gd name="adj" fmla="val 0"/>
            </a:avLst>
          </a:prstGeom>
          <a:solidFill>
            <a:srgbClr val="BCBC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2.984 MW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em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  <a:sym typeface="Verdana" pitchFamily="34" charset="0"/>
              </a:rPr>
              <a:t>operação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Verdana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456076" y="5589241"/>
            <a:ext cx="1421957" cy="435661"/>
          </a:xfrm>
          <a:prstGeom prst="roundRect">
            <a:avLst>
              <a:gd name="adj" fmla="val 0"/>
            </a:avLst>
          </a:prstGeom>
          <a:solidFill>
            <a:srgbClr val="0077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pt-BR" dirty="0">
                <a:solidFill>
                  <a:schemeClr val="bg1"/>
                </a:solidFill>
              </a:rPr>
              <a:t>892,4 MW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2191997" y="5589241"/>
            <a:ext cx="1400045" cy="435661"/>
          </a:xfrm>
          <a:prstGeom prst="roundRect">
            <a:avLst>
              <a:gd name="adj" fmla="val 0"/>
            </a:avLst>
          </a:prstGeom>
          <a:solidFill>
            <a:srgbClr val="00BF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</a:lstStyle>
          <a:p>
            <a:r>
              <a:rPr lang="pt-BR" dirty="0">
                <a:solidFill>
                  <a:schemeClr val="bg1"/>
                </a:solidFill>
              </a:rPr>
              <a:t>1272,3 MW</a:t>
            </a:r>
          </a:p>
        </p:txBody>
      </p:sp>
      <p:sp>
        <p:nvSpPr>
          <p:cNvPr id="129" name="CaixaDeTexto 128"/>
          <p:cNvSpPr txBox="1"/>
          <p:nvPr/>
        </p:nvSpPr>
        <p:spPr>
          <a:xfrm>
            <a:off x="3903749" y="5599879"/>
            <a:ext cx="1400429" cy="425022"/>
          </a:xfrm>
          <a:prstGeom prst="roundRect">
            <a:avLst>
              <a:gd name="adj" fmla="val 0"/>
            </a:avLst>
          </a:prstGeom>
          <a:solidFill>
            <a:srgbClr val="F15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</a:lstStyle>
          <a:p>
            <a:r>
              <a:rPr lang="pt-BR" dirty="0">
                <a:solidFill>
                  <a:schemeClr val="bg1"/>
                </a:solidFill>
              </a:rPr>
              <a:t>819,2 MW</a:t>
            </a:r>
          </a:p>
        </p:txBody>
      </p:sp>
      <p:sp>
        <p:nvSpPr>
          <p:cNvPr id="130" name="CaixaDeTexto 129"/>
          <p:cNvSpPr txBox="1"/>
          <p:nvPr/>
        </p:nvSpPr>
        <p:spPr>
          <a:xfrm>
            <a:off x="10041505" y="2657859"/>
            <a:ext cx="1502421" cy="449292"/>
          </a:xfrm>
          <a:prstGeom prst="roundRect">
            <a:avLst>
              <a:gd name="adj" fmla="val 0"/>
            </a:avLst>
          </a:prstGeom>
          <a:solidFill>
            <a:srgbClr val="F15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</a:lstStyle>
          <a:p>
            <a:r>
              <a:rPr lang="pt-BR" dirty="0">
                <a:solidFill>
                  <a:schemeClr val="bg1"/>
                </a:solidFill>
              </a:rPr>
              <a:t>474 MW</a:t>
            </a:r>
          </a:p>
        </p:txBody>
      </p:sp>
      <p:sp>
        <p:nvSpPr>
          <p:cNvPr id="132" name="CaixaDeTexto 131"/>
          <p:cNvSpPr txBox="1"/>
          <p:nvPr/>
        </p:nvSpPr>
        <p:spPr>
          <a:xfrm>
            <a:off x="10069771" y="5027186"/>
            <a:ext cx="1475116" cy="436437"/>
          </a:xfrm>
          <a:prstGeom prst="roundRect">
            <a:avLst>
              <a:gd name="adj" fmla="val 0"/>
            </a:avLst>
          </a:prstGeom>
          <a:solidFill>
            <a:srgbClr val="0077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</a:lstStyle>
          <a:p>
            <a:r>
              <a:rPr lang="pt-BR" dirty="0">
                <a:solidFill>
                  <a:schemeClr val="bg1"/>
                </a:solidFill>
              </a:rPr>
              <a:t>875,4 MW</a:t>
            </a:r>
          </a:p>
        </p:txBody>
      </p:sp>
      <p:sp>
        <p:nvSpPr>
          <p:cNvPr id="5" name="Retângulo 4"/>
          <p:cNvSpPr/>
          <p:nvPr/>
        </p:nvSpPr>
        <p:spPr>
          <a:xfrm>
            <a:off x="5937900" y="6495180"/>
            <a:ext cx="151195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dirty="0" err="1">
                <a:solidFill>
                  <a:prstClr val="black"/>
                </a:solidFill>
              </a:rPr>
              <a:t>Updated</a:t>
            </a:r>
            <a:r>
              <a:rPr lang="pt-BR" sz="1000" dirty="0">
                <a:solidFill>
                  <a:prstClr val="black"/>
                </a:solidFill>
              </a:rPr>
              <a:t> </a:t>
            </a:r>
            <a:r>
              <a:rPr lang="pt-BR" sz="1000" dirty="0" err="1">
                <a:solidFill>
                  <a:prstClr val="black"/>
                </a:solidFill>
              </a:rPr>
              <a:t>on</a:t>
            </a:r>
            <a:r>
              <a:rPr lang="pt-BR" sz="1000" dirty="0">
                <a:solidFill>
                  <a:prstClr val="black"/>
                </a:solidFill>
              </a:rPr>
              <a:t> 08/02/2018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1471916" y="3236969"/>
            <a:ext cx="2463844" cy="2342376"/>
            <a:chOff x="1558702" y="3516745"/>
            <a:chExt cx="2298220" cy="2342376"/>
          </a:xfrm>
        </p:grpSpPr>
        <p:sp>
          <p:nvSpPr>
            <p:cNvPr id="17" name="AutoShape 808"/>
            <p:cNvSpPr>
              <a:spLocks/>
            </p:cNvSpPr>
            <p:nvPr/>
          </p:nvSpPr>
          <p:spPr bwMode="auto">
            <a:xfrm>
              <a:off x="1564738" y="3810623"/>
              <a:ext cx="2154204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Tocantins – 8 PCHs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50,1 MW</a:t>
              </a:r>
            </a:p>
          </p:txBody>
        </p:sp>
        <p:sp>
          <p:nvSpPr>
            <p:cNvPr id="20" name="AutoShape 808"/>
            <p:cNvSpPr>
              <a:spLocks/>
            </p:cNvSpPr>
            <p:nvPr/>
          </p:nvSpPr>
          <p:spPr bwMode="auto">
            <a:xfrm>
              <a:off x="1558702" y="4451844"/>
              <a:ext cx="2066737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São</a:t>
              </a:r>
              <a:r>
                <a:rPr lang="pt-BR" altLang="pt-BR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Paulo –  4 </a:t>
              </a:r>
              <a:r>
                <a:rPr lang="pt-BR" altLang="pt-BR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PCHs</a:t>
              </a:r>
              <a:endParaRPr lang="en-US" sz="9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36,2  MW</a:t>
              </a:r>
            </a:p>
          </p:txBody>
        </p:sp>
        <p:sp>
          <p:nvSpPr>
            <p:cNvPr id="23" name="AutoShape 808"/>
            <p:cNvSpPr>
              <a:spLocks/>
            </p:cNvSpPr>
            <p:nvPr/>
          </p:nvSpPr>
          <p:spPr bwMode="auto">
            <a:xfrm>
              <a:off x="1558702" y="4131233"/>
              <a:ext cx="2298220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Mato Grosso – 9 PCHs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37,8 MW</a:t>
              </a:r>
            </a:p>
          </p:txBody>
        </p:sp>
        <p:sp>
          <p:nvSpPr>
            <p:cNvPr id="246" name="AutoShape 808"/>
            <p:cNvSpPr>
              <a:spLocks/>
            </p:cNvSpPr>
            <p:nvPr/>
          </p:nvSpPr>
          <p:spPr bwMode="auto">
            <a:xfrm>
              <a:off x="1558702" y="5084402"/>
              <a:ext cx="2010187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piacás – 2 PCHs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02 MW</a:t>
              </a:r>
            </a:p>
          </p:txBody>
        </p:sp>
        <p:sp>
          <p:nvSpPr>
            <p:cNvPr id="241" name="AutoShape 808"/>
            <p:cNvSpPr>
              <a:spLocks/>
            </p:cNvSpPr>
            <p:nvPr/>
          </p:nvSpPr>
          <p:spPr bwMode="auto">
            <a:xfrm>
              <a:off x="1558702" y="4765862"/>
              <a:ext cx="1908146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pt-BR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Paraná</a:t>
              </a:r>
              <a:r>
                <a:rPr lang="pt-BR" altLang="pt-BR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– 1 PCH</a:t>
              </a:r>
              <a:endParaRPr lang="en-US" sz="9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8,2  MW</a:t>
              </a:r>
            </a:p>
          </p:txBody>
        </p:sp>
        <p:sp>
          <p:nvSpPr>
            <p:cNvPr id="295" name="AutoShape 808"/>
            <p:cNvSpPr>
              <a:spLocks/>
            </p:cNvSpPr>
            <p:nvPr/>
          </p:nvSpPr>
          <p:spPr bwMode="auto">
            <a:xfrm>
              <a:off x="1558702" y="3516745"/>
              <a:ext cx="2298220" cy="453478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Cachoeira Dourada  – </a:t>
              </a:r>
              <a:r>
                <a:rPr lang="en-US" sz="8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Goiás</a:t>
              </a:r>
              <a:endParaRPr lang="en-US" sz="9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658 MW</a:t>
              </a:r>
            </a:p>
          </p:txBody>
        </p:sp>
        <p:sp>
          <p:nvSpPr>
            <p:cNvPr id="149" name="AutoShape 808"/>
            <p:cNvSpPr>
              <a:spLocks/>
            </p:cNvSpPr>
            <p:nvPr/>
          </p:nvSpPr>
          <p:spPr bwMode="auto">
            <a:xfrm>
              <a:off x="1560403" y="5405643"/>
              <a:ext cx="2296519" cy="453478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Volta Grande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São Paulo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380 MW</a:t>
              </a: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9349692" y="3954004"/>
            <a:ext cx="2287415" cy="1094076"/>
            <a:chOff x="9640439" y="4854572"/>
            <a:chExt cx="2638406" cy="1094076"/>
          </a:xfrm>
        </p:grpSpPr>
        <p:sp>
          <p:nvSpPr>
            <p:cNvPr id="247" name="AutoShape 808"/>
            <p:cNvSpPr>
              <a:spLocks/>
            </p:cNvSpPr>
            <p:nvPr/>
          </p:nvSpPr>
          <p:spPr bwMode="auto">
            <a:xfrm>
              <a:off x="9647470" y="5174937"/>
              <a:ext cx="2631375" cy="453439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38163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 err="1">
                  <a:cs typeface="Arial" panose="020B0604020202020204" pitchFamily="34" charset="0"/>
                </a:rPr>
                <a:t>Lagoa</a:t>
              </a:r>
              <a:r>
                <a:rPr lang="en-US" sz="900" b="1" kern="0" dirty="0">
                  <a:cs typeface="Arial" panose="020B0604020202020204" pitchFamily="34" charset="0"/>
                </a:rPr>
                <a:t> do </a:t>
              </a:r>
              <a:r>
                <a:rPr lang="en-US" sz="900" b="1" kern="0" dirty="0" err="1">
                  <a:cs typeface="Arial" panose="020B0604020202020204" pitchFamily="34" charset="0"/>
                </a:rPr>
                <a:t>Barro</a:t>
              </a:r>
              <a:r>
                <a:rPr lang="en-US" sz="900" b="1" kern="0" dirty="0">
                  <a:cs typeface="Arial" panose="020B0604020202020204" pitchFamily="34" charset="0"/>
                </a:rPr>
                <a:t> - </a:t>
              </a:r>
              <a:r>
                <a:rPr lang="en-US" sz="900" b="1" i="1" kern="0" dirty="0" err="1">
                  <a:cs typeface="Arial" panose="020B0604020202020204" pitchFamily="34" charset="0"/>
                </a:rPr>
                <a:t>Piauí</a:t>
              </a:r>
              <a:r>
                <a:rPr lang="en-US" sz="900" b="1" kern="0" dirty="0">
                  <a:cs typeface="Arial" panose="020B0604020202020204" pitchFamily="34" charset="0"/>
                </a:rPr>
                <a:t> 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cs typeface="Arial" panose="020B0604020202020204" pitchFamily="34" charset="0"/>
                </a:rPr>
                <a:t>596 MW</a:t>
              </a:r>
            </a:p>
          </p:txBody>
        </p:sp>
        <p:sp>
          <p:nvSpPr>
            <p:cNvPr id="139" name="AutoShape 808"/>
            <p:cNvSpPr>
              <a:spLocks/>
            </p:cNvSpPr>
            <p:nvPr/>
          </p:nvSpPr>
          <p:spPr bwMode="auto">
            <a:xfrm>
              <a:off x="9640439" y="4854572"/>
              <a:ext cx="2637044" cy="453439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25463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cs typeface="Arial" panose="020B0604020202020204" pitchFamily="34" charset="0"/>
                </a:rPr>
                <a:t>Morro do </a:t>
              </a:r>
              <a:r>
                <a:rPr lang="en-US" sz="900" b="1" kern="0" dirty="0" err="1">
                  <a:cs typeface="Arial" panose="020B0604020202020204" pitchFamily="34" charset="0"/>
                </a:rPr>
                <a:t>Chapeu</a:t>
              </a:r>
              <a:r>
                <a:rPr lang="en-US" sz="900" b="1" kern="0" dirty="0">
                  <a:cs typeface="Arial" panose="020B0604020202020204" pitchFamily="34" charset="0"/>
                </a:rPr>
                <a:t> 2 - </a:t>
              </a:r>
              <a:r>
                <a:rPr lang="en-US" sz="800" b="1" i="1" kern="0" dirty="0">
                  <a:cs typeface="Arial" panose="020B0604020202020204" pitchFamily="34" charset="0"/>
                </a:rPr>
                <a:t>Bahia</a:t>
              </a:r>
              <a:r>
                <a:rPr lang="en-US" sz="900" b="1" kern="0" dirty="0">
                  <a:cs typeface="Arial" panose="020B0604020202020204" pitchFamily="34" charset="0"/>
                </a:rPr>
                <a:t> 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cs typeface="Arial" panose="020B0604020202020204" pitchFamily="34" charset="0"/>
                </a:rPr>
                <a:t>250 MW</a:t>
              </a:r>
            </a:p>
          </p:txBody>
        </p:sp>
        <p:sp>
          <p:nvSpPr>
            <p:cNvPr id="143" name="AutoShape 808"/>
            <p:cNvSpPr>
              <a:spLocks/>
            </p:cNvSpPr>
            <p:nvPr/>
          </p:nvSpPr>
          <p:spPr bwMode="auto">
            <a:xfrm>
              <a:off x="9665150" y="5483898"/>
              <a:ext cx="2506215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38163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cs typeface="Arial" panose="020B0604020202020204" pitchFamily="34" charset="0"/>
                </a:rPr>
                <a:t>Zeus - </a:t>
              </a:r>
              <a:r>
                <a:rPr lang="en-US" sz="800" b="1" i="1" kern="0" dirty="0">
                  <a:cs typeface="Arial" panose="020B0604020202020204" pitchFamily="34" charset="0"/>
                </a:rPr>
                <a:t>Bahia</a:t>
              </a:r>
              <a:r>
                <a:rPr lang="en-US" sz="900" b="1" kern="0" dirty="0">
                  <a:cs typeface="Arial" panose="020B0604020202020204" pitchFamily="34" charset="0"/>
                </a:rPr>
                <a:t> 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cs typeface="Arial" panose="020B0604020202020204" pitchFamily="34" charset="0"/>
                </a:rPr>
                <a:t>29,4 MW</a:t>
              </a:r>
            </a:p>
          </p:txBody>
        </p:sp>
      </p:grpSp>
      <p:grpSp>
        <p:nvGrpSpPr>
          <p:cNvPr id="3" name="Grupo 2"/>
          <p:cNvGrpSpPr/>
          <p:nvPr/>
        </p:nvGrpSpPr>
        <p:grpSpPr>
          <a:xfrm>
            <a:off x="-240704" y="1668106"/>
            <a:ext cx="2504773" cy="3935592"/>
            <a:chOff x="-241498" y="1987727"/>
            <a:chExt cx="2504773" cy="3935592"/>
          </a:xfrm>
        </p:grpSpPr>
        <p:sp>
          <p:nvSpPr>
            <p:cNvPr id="248" name="AutoShape 808"/>
            <p:cNvSpPr>
              <a:spLocks/>
            </p:cNvSpPr>
            <p:nvPr/>
          </p:nvSpPr>
          <p:spPr bwMode="auto">
            <a:xfrm>
              <a:off x="-241498" y="5128426"/>
              <a:ext cx="2504773" cy="487447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pt-BR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Delfina </a:t>
              </a:r>
              <a:r>
                <a:rPr lang="en-US" sz="11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8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80 MW</a:t>
              </a:r>
            </a:p>
          </p:txBody>
        </p:sp>
        <p:sp>
          <p:nvSpPr>
            <p:cNvPr id="32" name="AutoShape 808"/>
            <p:cNvSpPr>
              <a:spLocks/>
            </p:cNvSpPr>
            <p:nvPr/>
          </p:nvSpPr>
          <p:spPr bwMode="auto">
            <a:xfrm>
              <a:off x="-233451" y="2582872"/>
              <a:ext cx="2368218" cy="589685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Modelo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Rio Grande do Norte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56,4 MW</a:t>
              </a:r>
            </a:p>
          </p:txBody>
        </p:sp>
        <p:sp>
          <p:nvSpPr>
            <p:cNvPr id="18" name="AutoShape 808"/>
            <p:cNvSpPr>
              <a:spLocks/>
            </p:cNvSpPr>
            <p:nvPr/>
          </p:nvSpPr>
          <p:spPr bwMode="auto">
            <a:xfrm>
              <a:off x="-239817" y="1987727"/>
              <a:ext cx="2158559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Cristal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89,7 MW</a:t>
              </a:r>
            </a:p>
          </p:txBody>
        </p:sp>
        <p:sp>
          <p:nvSpPr>
            <p:cNvPr id="19" name="AutoShape 808"/>
            <p:cNvSpPr>
              <a:spLocks/>
            </p:cNvSpPr>
            <p:nvPr/>
          </p:nvSpPr>
          <p:spPr bwMode="auto">
            <a:xfrm>
              <a:off x="-233452" y="3015611"/>
              <a:ext cx="2368219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Curva – 2 EOLs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56,4 MW</a:t>
              </a:r>
            </a:p>
          </p:txBody>
        </p:sp>
        <p:sp>
          <p:nvSpPr>
            <p:cNvPr id="21" name="AutoShape 808"/>
            <p:cNvSpPr>
              <a:spLocks/>
            </p:cNvSpPr>
            <p:nvPr/>
          </p:nvSpPr>
          <p:spPr bwMode="auto">
            <a:xfrm>
              <a:off x="-233452" y="2275759"/>
              <a:ext cx="2496727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Fontes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Pernambuco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79,9 MW</a:t>
              </a:r>
            </a:p>
          </p:txBody>
        </p:sp>
        <p:sp>
          <p:nvSpPr>
            <p:cNvPr id="159" name="AutoShape 808"/>
            <p:cNvSpPr>
              <a:spLocks/>
            </p:cNvSpPr>
            <p:nvPr/>
          </p:nvSpPr>
          <p:spPr bwMode="auto">
            <a:xfrm>
              <a:off x="-241498" y="3914520"/>
              <a:ext cx="2046622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Damascena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30 MW</a:t>
              </a:r>
            </a:p>
          </p:txBody>
        </p:sp>
        <p:sp>
          <p:nvSpPr>
            <p:cNvPr id="160" name="AutoShape 808"/>
            <p:cNvSpPr>
              <a:spLocks/>
            </p:cNvSpPr>
            <p:nvPr/>
          </p:nvSpPr>
          <p:spPr bwMode="auto">
            <a:xfrm>
              <a:off x="-241497" y="4189336"/>
              <a:ext cx="2304255" cy="487446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pt-BR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Maniçoba </a:t>
              </a:r>
              <a:r>
                <a:rPr lang="en-US" sz="11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8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30 MW</a:t>
              </a:r>
            </a:p>
          </p:txBody>
        </p:sp>
        <p:sp>
          <p:nvSpPr>
            <p:cNvPr id="161" name="AutoShape 808"/>
            <p:cNvSpPr>
              <a:spLocks/>
            </p:cNvSpPr>
            <p:nvPr/>
          </p:nvSpPr>
          <p:spPr bwMode="auto">
            <a:xfrm>
              <a:off x="-240001" y="4519500"/>
              <a:ext cx="2158743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Esperança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28 MW</a:t>
              </a:r>
            </a:p>
          </p:txBody>
        </p:sp>
        <p:sp>
          <p:nvSpPr>
            <p:cNvPr id="283" name="AutoShape 808"/>
            <p:cNvSpPr>
              <a:spLocks/>
            </p:cNvSpPr>
            <p:nvPr/>
          </p:nvSpPr>
          <p:spPr bwMode="auto">
            <a:xfrm>
              <a:off x="-236387" y="3625535"/>
              <a:ext cx="2155129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Dois Riachos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30 MW</a:t>
              </a:r>
            </a:p>
          </p:txBody>
        </p:sp>
        <p:sp>
          <p:nvSpPr>
            <p:cNvPr id="288" name="AutoShape 808"/>
            <p:cNvSpPr>
              <a:spLocks/>
            </p:cNvSpPr>
            <p:nvPr/>
          </p:nvSpPr>
          <p:spPr bwMode="auto">
            <a:xfrm>
              <a:off x="-233451" y="3314490"/>
              <a:ext cx="2152194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Melowind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Uruguai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50 MW</a:t>
              </a:r>
            </a:p>
          </p:txBody>
        </p:sp>
        <p:sp>
          <p:nvSpPr>
            <p:cNvPr id="138" name="AutoShape 808"/>
            <p:cNvSpPr>
              <a:spLocks/>
            </p:cNvSpPr>
            <p:nvPr/>
          </p:nvSpPr>
          <p:spPr bwMode="auto">
            <a:xfrm>
              <a:off x="-241498" y="4836604"/>
              <a:ext cx="2118737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Cristalândia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90 MW</a:t>
              </a:r>
            </a:p>
          </p:txBody>
        </p:sp>
        <p:sp>
          <p:nvSpPr>
            <p:cNvPr id="140" name="AutoShape 808"/>
            <p:cNvSpPr>
              <a:spLocks/>
            </p:cNvSpPr>
            <p:nvPr/>
          </p:nvSpPr>
          <p:spPr bwMode="auto">
            <a:xfrm>
              <a:off x="-241498" y="5469841"/>
              <a:ext cx="2240854" cy="453478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Morro do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hapeu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72 MW</a:t>
              </a:r>
            </a:p>
          </p:txBody>
        </p:sp>
      </p:grpSp>
      <p:sp>
        <p:nvSpPr>
          <p:cNvPr id="144" name="AutoShape 808">
            <a:extLst>
              <a:ext uri="{FF2B5EF4-FFF2-40B4-BE49-F238E27FC236}">
                <a16:creationId xmlns:a16="http://schemas.microsoft.com/office/drawing/2014/main" xmlns="" id="{A35E3F0B-07DD-4E93-AAD2-564DA11F96C6}"/>
              </a:ext>
            </a:extLst>
          </p:cNvPr>
          <p:cNvSpPr>
            <a:spLocks/>
          </p:cNvSpPr>
          <p:nvPr/>
        </p:nvSpPr>
        <p:spPr bwMode="auto">
          <a:xfrm>
            <a:off x="9336361" y="2183474"/>
            <a:ext cx="2893651" cy="453439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131588" tIns="65795" rIns="131588" bIns="65795">
            <a:spAutoFit/>
          </a:bodyPr>
          <a:lstStyle/>
          <a:p>
            <a:pPr marL="525463" lvl="1" defTabSz="1024065">
              <a:buClr>
                <a:srgbClr val="FF6600"/>
              </a:buClr>
              <a:buSzPct val="80000"/>
              <a:defRPr/>
            </a:pPr>
            <a:r>
              <a:rPr lang="en-US" sz="900" b="1" kern="0" dirty="0">
                <a:cs typeface="Arial" panose="020B0604020202020204" pitchFamily="34" charset="0"/>
              </a:rPr>
              <a:t>São </a:t>
            </a:r>
            <a:r>
              <a:rPr lang="en-US" sz="900" b="1" kern="0" dirty="0" err="1">
                <a:cs typeface="Arial" panose="020B0604020202020204" pitchFamily="34" charset="0"/>
              </a:rPr>
              <a:t>Gonçalo</a:t>
            </a:r>
            <a:r>
              <a:rPr lang="en-US" sz="900" b="1" kern="0" dirty="0">
                <a:cs typeface="Arial" panose="020B0604020202020204" pitchFamily="34" charset="0"/>
              </a:rPr>
              <a:t> - </a:t>
            </a:r>
            <a:r>
              <a:rPr lang="en-US" sz="800" b="1" i="1" kern="0" dirty="0" err="1">
                <a:cs typeface="Arial" panose="020B0604020202020204" pitchFamily="34" charset="0"/>
              </a:rPr>
              <a:t>Piauí</a:t>
            </a:r>
            <a:endParaRPr lang="en-US" sz="800" b="1" i="1" kern="0" dirty="0">
              <a:cs typeface="Arial" panose="020B0604020202020204" pitchFamily="34" charset="0"/>
            </a:endParaRPr>
          </a:p>
          <a:p>
            <a:pPr marL="537176" lvl="1" defTabSz="1024065">
              <a:buClr>
                <a:srgbClr val="FF6600"/>
              </a:buClr>
              <a:buSzPct val="80000"/>
              <a:defRPr/>
            </a:pPr>
            <a:r>
              <a:rPr lang="en-US" sz="900" b="1" kern="0" dirty="0">
                <a:cs typeface="Arial" panose="020B0604020202020204" pitchFamily="34" charset="0"/>
              </a:rPr>
              <a:t>474 </a:t>
            </a:r>
            <a:r>
              <a:rPr lang="en-US" sz="900" b="1" kern="0" dirty="0" err="1">
                <a:cs typeface="Arial" panose="020B0604020202020204" pitchFamily="34" charset="0"/>
              </a:rPr>
              <a:t>MWp</a:t>
            </a:r>
            <a:r>
              <a:rPr lang="en-US" sz="900" b="1" kern="0" dirty="0">
                <a:cs typeface="Arial" panose="020B0604020202020204" pitchFamily="34" charset="0"/>
              </a:rPr>
              <a:t>  (445 </a:t>
            </a:r>
            <a:r>
              <a:rPr lang="en-US" sz="900" b="1" kern="0" dirty="0" err="1">
                <a:cs typeface="Arial" panose="020B0604020202020204" pitchFamily="34" charset="0"/>
              </a:rPr>
              <a:t>MWac</a:t>
            </a:r>
            <a:r>
              <a:rPr lang="en-US" sz="900" b="1" kern="0" dirty="0">
                <a:cs typeface="Arial" panose="020B0604020202020204" pitchFamily="34" charset="0"/>
              </a:rPr>
              <a:t>)</a:t>
            </a:r>
          </a:p>
        </p:txBody>
      </p:sp>
      <p:grpSp>
        <p:nvGrpSpPr>
          <p:cNvPr id="10" name="Grupo 9"/>
          <p:cNvGrpSpPr/>
          <p:nvPr/>
        </p:nvGrpSpPr>
        <p:grpSpPr>
          <a:xfrm>
            <a:off x="3178998" y="3422876"/>
            <a:ext cx="2555847" cy="2166365"/>
            <a:chOff x="3250211" y="3687462"/>
            <a:chExt cx="2555847" cy="2166365"/>
          </a:xfrm>
        </p:grpSpPr>
        <p:sp>
          <p:nvSpPr>
            <p:cNvPr id="150" name="AutoShape 808">
              <a:extLst>
                <a:ext uri="{FF2B5EF4-FFF2-40B4-BE49-F238E27FC236}">
                  <a16:creationId xmlns:a16="http://schemas.microsoft.com/office/drawing/2014/main" xmlns="" id="{6D315096-1432-4D90-B82C-323B36784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8540" y="3687462"/>
              <a:ext cx="2332610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Fontes Solar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Pernambuco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1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p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(10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ac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51" name="AutoShape 808">
              <a:extLst>
                <a:ext uri="{FF2B5EF4-FFF2-40B4-BE49-F238E27FC236}">
                  <a16:creationId xmlns:a16="http://schemas.microsoft.com/office/drawing/2014/main" xmlns="" id="{2132ABD8-8695-4989-9932-270E6D0AA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211" y="4018334"/>
              <a:ext cx="2555847" cy="453478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piacas Solar – 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Mato Grosso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,2 MW (0,9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ac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57" name="AutoShape 808">
              <a:extLst>
                <a:ext uri="{FF2B5EF4-FFF2-40B4-BE49-F238E27FC236}">
                  <a16:creationId xmlns:a16="http://schemas.microsoft.com/office/drawing/2014/main" xmlns="" id="{5E8048C7-9BE9-46A8-8536-6CF7AC0CD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070" y="4725093"/>
              <a:ext cx="2136694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Ituverava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254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p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(196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ac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58" name="AutoShape 808">
              <a:extLst>
                <a:ext uri="{FF2B5EF4-FFF2-40B4-BE49-F238E27FC236}">
                  <a16:creationId xmlns:a16="http://schemas.microsoft.com/office/drawing/2014/main" xmlns="" id="{F57194AA-AA7D-4D3B-BD26-1E52390C2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435" y="5059052"/>
              <a:ext cx="2135328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Nova Olinda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Piauí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292 MW (210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ac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63" name="AutoShape 808">
              <a:extLst>
                <a:ext uri="{FF2B5EF4-FFF2-40B4-BE49-F238E27FC236}">
                  <a16:creationId xmlns:a16="http://schemas.microsoft.com/office/drawing/2014/main" xmlns="" id="{37B8D6C2-9847-4919-92F4-5E9357DF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069" y="4365355"/>
              <a:ext cx="2141696" cy="464750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Lapa Cluster -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  <a:endParaRPr lang="en-US" sz="900" b="1" i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58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p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 (120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ac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64" name="AutoShape 808">
              <a:extLst>
                <a:ext uri="{FF2B5EF4-FFF2-40B4-BE49-F238E27FC236}">
                  <a16:creationId xmlns:a16="http://schemas.microsoft.com/office/drawing/2014/main" xmlns="" id="{19016C06-EB96-4C61-8E3A-2AC1B814D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028" y="5400388"/>
              <a:ext cx="2136736" cy="453439"/>
            </a:xfrm>
            <a:prstGeom prst="roundRect">
              <a:avLst>
                <a:gd name="adj" fmla="val 16667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131588" tIns="65795" rIns="131588" bIns="65795">
              <a:spAutoFit/>
            </a:bodyPr>
            <a:lstStyle/>
            <a:p>
              <a:pPr marL="541338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Horizonte MP – </a:t>
              </a:r>
              <a:r>
                <a:rPr lang="en-US" sz="800" b="1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Bahia</a:t>
              </a:r>
            </a:p>
            <a:p>
              <a:pPr marL="537176" lvl="1" defTabSz="1024065">
                <a:buClr>
                  <a:srgbClr val="FF6600"/>
                </a:buClr>
                <a:buSzPct val="80000"/>
                <a:defRPr/>
              </a:pP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103 MW (77,1 </a:t>
              </a:r>
              <a:r>
                <a:rPr lang="en-US" sz="9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MWac</a:t>
              </a:r>
              <a:r>
                <a:rPr lang="en-US" sz="9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4566988" y="692697"/>
            <a:ext cx="5201421" cy="4833379"/>
            <a:chOff x="5251587" y="548680"/>
            <a:chExt cx="5201421" cy="4833379"/>
          </a:xfrm>
        </p:grpSpPr>
        <p:grpSp>
          <p:nvGrpSpPr>
            <p:cNvPr id="171" name="Grupo 1"/>
            <p:cNvGrpSpPr/>
            <p:nvPr/>
          </p:nvGrpSpPr>
          <p:grpSpPr>
            <a:xfrm>
              <a:off x="6548067" y="1514808"/>
              <a:ext cx="2777541" cy="3479121"/>
              <a:chOff x="4328007" y="2330910"/>
              <a:chExt cx="3171086" cy="3648985"/>
            </a:xfrm>
            <a:solidFill>
              <a:srgbClr val="3EC2B2"/>
            </a:solidFill>
          </p:grpSpPr>
          <p:sp>
            <p:nvSpPr>
              <p:cNvPr id="181" name="Freeform 156"/>
              <p:cNvSpPr>
                <a:spLocks/>
              </p:cNvSpPr>
              <p:nvPr/>
            </p:nvSpPr>
            <p:spPr bwMode="auto">
              <a:xfrm>
                <a:off x="4328007" y="2824820"/>
                <a:ext cx="1339454" cy="1300023"/>
              </a:xfrm>
              <a:custGeom>
                <a:avLst/>
                <a:gdLst>
                  <a:gd name="T0" fmla="*/ 271 w 9569"/>
                  <a:gd name="T1" fmla="*/ 739 h 9288"/>
                  <a:gd name="T2" fmla="*/ 228 w 9569"/>
                  <a:gd name="T3" fmla="*/ 692 h 9288"/>
                  <a:gd name="T4" fmla="*/ 235 w 9569"/>
                  <a:gd name="T5" fmla="*/ 655 h 9288"/>
                  <a:gd name="T6" fmla="*/ 104 w 9569"/>
                  <a:gd name="T7" fmla="*/ 599 h 9288"/>
                  <a:gd name="T8" fmla="*/ 92 w 9569"/>
                  <a:gd name="T9" fmla="*/ 565 h 9288"/>
                  <a:gd name="T10" fmla="*/ 92 w 9569"/>
                  <a:gd name="T11" fmla="*/ 530 h 9288"/>
                  <a:gd name="T12" fmla="*/ 87 w 9569"/>
                  <a:gd name="T13" fmla="*/ 497 h 9288"/>
                  <a:gd name="T14" fmla="*/ 84 w 9569"/>
                  <a:gd name="T15" fmla="*/ 449 h 9288"/>
                  <a:gd name="T16" fmla="*/ 124 w 9569"/>
                  <a:gd name="T17" fmla="*/ 364 h 9288"/>
                  <a:gd name="T18" fmla="*/ 118 w 9569"/>
                  <a:gd name="T19" fmla="*/ 287 h 9288"/>
                  <a:gd name="T20" fmla="*/ 31 w 9569"/>
                  <a:gd name="T21" fmla="*/ 267 h 9288"/>
                  <a:gd name="T22" fmla="*/ 13 w 9569"/>
                  <a:gd name="T23" fmla="*/ 171 h 9288"/>
                  <a:gd name="T24" fmla="*/ 217 w 9569"/>
                  <a:gd name="T25" fmla="*/ 111 h 9288"/>
                  <a:gd name="T26" fmla="*/ 225 w 9569"/>
                  <a:gd name="T27" fmla="*/ 75 h 9288"/>
                  <a:gd name="T28" fmla="*/ 225 w 9569"/>
                  <a:gd name="T29" fmla="*/ 38 h 9288"/>
                  <a:gd name="T30" fmla="*/ 243 w 9569"/>
                  <a:gd name="T31" fmla="*/ 0 h 9288"/>
                  <a:gd name="T32" fmla="*/ 311 w 9569"/>
                  <a:gd name="T33" fmla="*/ 116 h 9288"/>
                  <a:gd name="T34" fmla="*/ 344 w 9569"/>
                  <a:gd name="T35" fmla="*/ 154 h 9288"/>
                  <a:gd name="T36" fmla="*/ 793 w 9569"/>
                  <a:gd name="T37" fmla="*/ 220 h 9288"/>
                  <a:gd name="T38" fmla="*/ 776 w 9569"/>
                  <a:gd name="T39" fmla="*/ 316 h 9288"/>
                  <a:gd name="T40" fmla="*/ 780 w 9569"/>
                  <a:gd name="T41" fmla="*/ 381 h 9288"/>
                  <a:gd name="T42" fmla="*/ 772 w 9569"/>
                  <a:gd name="T43" fmla="*/ 445 h 9288"/>
                  <a:gd name="T44" fmla="*/ 740 w 9569"/>
                  <a:gd name="T45" fmla="*/ 549 h 9288"/>
                  <a:gd name="T46" fmla="*/ 692 w 9569"/>
                  <a:gd name="T47" fmla="*/ 606 h 9288"/>
                  <a:gd name="T48" fmla="*/ 648 w 9569"/>
                  <a:gd name="T49" fmla="*/ 637 h 9288"/>
                  <a:gd name="T50" fmla="*/ 603 w 9569"/>
                  <a:gd name="T51" fmla="*/ 704 h 9288"/>
                  <a:gd name="T52" fmla="*/ 601 w 9569"/>
                  <a:gd name="T53" fmla="*/ 754 h 9288"/>
                  <a:gd name="T54" fmla="*/ 568 w 9569"/>
                  <a:gd name="T55" fmla="*/ 746 h 9288"/>
                  <a:gd name="T56" fmla="*/ 539 w 9569"/>
                  <a:gd name="T57" fmla="*/ 729 h 9288"/>
                  <a:gd name="T58" fmla="*/ 473 w 9569"/>
                  <a:gd name="T59" fmla="*/ 739 h 9288"/>
                  <a:gd name="T60" fmla="*/ 379 w 9569"/>
                  <a:gd name="T61" fmla="*/ 713 h 9288"/>
                  <a:gd name="T62" fmla="*/ 322 w 9569"/>
                  <a:gd name="T63" fmla="*/ 752 h 9288"/>
                  <a:gd name="T64" fmla="*/ 293 w 9569"/>
                  <a:gd name="T65" fmla="*/ 787 h 92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9569" h="9288">
                    <a:moveTo>
                      <a:pt x="3459" y="9288"/>
                    </a:moveTo>
                    <a:cubicBezTo>
                      <a:pt x="3326" y="9117"/>
                      <a:pt x="3348" y="8835"/>
                      <a:pt x="3199" y="8716"/>
                    </a:cubicBezTo>
                    <a:cubicBezTo>
                      <a:pt x="3073" y="8620"/>
                      <a:pt x="2903" y="8627"/>
                      <a:pt x="2784" y="8538"/>
                    </a:cubicBezTo>
                    <a:cubicBezTo>
                      <a:pt x="2747" y="8508"/>
                      <a:pt x="2695" y="8248"/>
                      <a:pt x="2695" y="8167"/>
                    </a:cubicBezTo>
                    <a:cubicBezTo>
                      <a:pt x="2702" y="7959"/>
                      <a:pt x="2776" y="7951"/>
                      <a:pt x="2776" y="7892"/>
                    </a:cubicBezTo>
                    <a:cubicBezTo>
                      <a:pt x="2776" y="7684"/>
                      <a:pt x="2813" y="7736"/>
                      <a:pt x="2776" y="7736"/>
                    </a:cubicBezTo>
                    <a:cubicBezTo>
                      <a:pt x="2776" y="7736"/>
                      <a:pt x="1284" y="7773"/>
                      <a:pt x="1284" y="7729"/>
                    </a:cubicBezTo>
                    <a:cubicBezTo>
                      <a:pt x="1284" y="7662"/>
                      <a:pt x="1254" y="7201"/>
                      <a:pt x="1232" y="7068"/>
                    </a:cubicBezTo>
                    <a:cubicBezTo>
                      <a:pt x="1210" y="6942"/>
                      <a:pt x="921" y="6890"/>
                      <a:pt x="980" y="6756"/>
                    </a:cubicBezTo>
                    <a:cubicBezTo>
                      <a:pt x="995" y="6756"/>
                      <a:pt x="1091" y="6726"/>
                      <a:pt x="1091" y="6667"/>
                    </a:cubicBezTo>
                    <a:cubicBezTo>
                      <a:pt x="1091" y="6585"/>
                      <a:pt x="1032" y="6556"/>
                      <a:pt x="1032" y="6452"/>
                    </a:cubicBezTo>
                    <a:cubicBezTo>
                      <a:pt x="1032" y="6355"/>
                      <a:pt x="1091" y="6363"/>
                      <a:pt x="1091" y="6259"/>
                    </a:cubicBezTo>
                    <a:cubicBezTo>
                      <a:pt x="1091" y="6155"/>
                      <a:pt x="1017" y="6095"/>
                      <a:pt x="980" y="5984"/>
                    </a:cubicBezTo>
                    <a:cubicBezTo>
                      <a:pt x="935" y="5880"/>
                      <a:pt x="1032" y="5865"/>
                      <a:pt x="1032" y="5865"/>
                    </a:cubicBezTo>
                    <a:cubicBezTo>
                      <a:pt x="1076" y="5754"/>
                      <a:pt x="876" y="5598"/>
                      <a:pt x="690" y="5501"/>
                    </a:cubicBezTo>
                    <a:cubicBezTo>
                      <a:pt x="779" y="5413"/>
                      <a:pt x="898" y="5360"/>
                      <a:pt x="995" y="5294"/>
                    </a:cubicBezTo>
                    <a:cubicBezTo>
                      <a:pt x="1076" y="5227"/>
                      <a:pt x="1054" y="5041"/>
                      <a:pt x="1121" y="4937"/>
                    </a:cubicBezTo>
                    <a:cubicBezTo>
                      <a:pt x="1254" y="4730"/>
                      <a:pt x="1403" y="4722"/>
                      <a:pt x="1462" y="4299"/>
                    </a:cubicBezTo>
                    <a:cubicBezTo>
                      <a:pt x="1507" y="3957"/>
                      <a:pt x="1254" y="3950"/>
                      <a:pt x="1254" y="3742"/>
                    </a:cubicBezTo>
                    <a:cubicBezTo>
                      <a:pt x="1254" y="3594"/>
                      <a:pt x="1425" y="3609"/>
                      <a:pt x="1388" y="3386"/>
                    </a:cubicBezTo>
                    <a:cubicBezTo>
                      <a:pt x="1351" y="3207"/>
                      <a:pt x="1039" y="3252"/>
                      <a:pt x="817" y="3170"/>
                    </a:cubicBezTo>
                    <a:cubicBezTo>
                      <a:pt x="720" y="3133"/>
                      <a:pt x="386" y="3215"/>
                      <a:pt x="371" y="3156"/>
                    </a:cubicBezTo>
                    <a:cubicBezTo>
                      <a:pt x="349" y="2999"/>
                      <a:pt x="0" y="2896"/>
                      <a:pt x="0" y="2628"/>
                    </a:cubicBezTo>
                    <a:cubicBezTo>
                      <a:pt x="0" y="2391"/>
                      <a:pt x="156" y="2250"/>
                      <a:pt x="156" y="2020"/>
                    </a:cubicBezTo>
                    <a:cubicBezTo>
                      <a:pt x="156" y="1767"/>
                      <a:pt x="37" y="1582"/>
                      <a:pt x="67" y="1307"/>
                    </a:cubicBezTo>
                    <a:lnTo>
                      <a:pt x="2561" y="1307"/>
                    </a:lnTo>
                    <a:cubicBezTo>
                      <a:pt x="2591" y="1277"/>
                      <a:pt x="2635" y="1248"/>
                      <a:pt x="2658" y="1233"/>
                    </a:cubicBezTo>
                    <a:lnTo>
                      <a:pt x="2658" y="884"/>
                    </a:lnTo>
                    <a:cubicBezTo>
                      <a:pt x="2702" y="787"/>
                      <a:pt x="2747" y="750"/>
                      <a:pt x="2747" y="654"/>
                    </a:cubicBezTo>
                    <a:cubicBezTo>
                      <a:pt x="2747" y="572"/>
                      <a:pt x="2658" y="535"/>
                      <a:pt x="2658" y="446"/>
                    </a:cubicBezTo>
                    <a:cubicBezTo>
                      <a:pt x="2658" y="387"/>
                      <a:pt x="2791" y="349"/>
                      <a:pt x="2806" y="320"/>
                    </a:cubicBezTo>
                    <a:cubicBezTo>
                      <a:pt x="2865" y="201"/>
                      <a:pt x="2821" y="104"/>
                      <a:pt x="2865" y="0"/>
                    </a:cubicBezTo>
                    <a:cubicBezTo>
                      <a:pt x="3155" y="282"/>
                      <a:pt x="3207" y="609"/>
                      <a:pt x="3274" y="1084"/>
                    </a:cubicBezTo>
                    <a:cubicBezTo>
                      <a:pt x="3289" y="1248"/>
                      <a:pt x="3511" y="1315"/>
                      <a:pt x="3667" y="1366"/>
                    </a:cubicBezTo>
                    <a:cubicBezTo>
                      <a:pt x="3749" y="1389"/>
                      <a:pt x="3756" y="1500"/>
                      <a:pt x="3779" y="1552"/>
                    </a:cubicBezTo>
                    <a:cubicBezTo>
                      <a:pt x="3845" y="1693"/>
                      <a:pt x="3979" y="1686"/>
                      <a:pt x="4053" y="1819"/>
                    </a:cubicBezTo>
                    <a:lnTo>
                      <a:pt x="9569" y="2116"/>
                    </a:lnTo>
                    <a:cubicBezTo>
                      <a:pt x="9458" y="2332"/>
                      <a:pt x="9361" y="2487"/>
                      <a:pt x="9354" y="2599"/>
                    </a:cubicBezTo>
                    <a:cubicBezTo>
                      <a:pt x="9339" y="2740"/>
                      <a:pt x="9243" y="2688"/>
                      <a:pt x="9213" y="3156"/>
                    </a:cubicBezTo>
                    <a:cubicBezTo>
                      <a:pt x="9206" y="3356"/>
                      <a:pt x="9064" y="3430"/>
                      <a:pt x="9161" y="3727"/>
                    </a:cubicBezTo>
                    <a:cubicBezTo>
                      <a:pt x="9198" y="3861"/>
                      <a:pt x="9116" y="4039"/>
                      <a:pt x="9161" y="4136"/>
                    </a:cubicBezTo>
                    <a:cubicBezTo>
                      <a:pt x="9250" y="4299"/>
                      <a:pt x="9220" y="4373"/>
                      <a:pt x="9198" y="4492"/>
                    </a:cubicBezTo>
                    <a:cubicBezTo>
                      <a:pt x="9168" y="4670"/>
                      <a:pt x="9339" y="4707"/>
                      <a:pt x="9280" y="4811"/>
                    </a:cubicBezTo>
                    <a:cubicBezTo>
                      <a:pt x="9220" y="4915"/>
                      <a:pt x="9257" y="5138"/>
                      <a:pt x="9109" y="5257"/>
                    </a:cubicBezTo>
                    <a:cubicBezTo>
                      <a:pt x="8812" y="5472"/>
                      <a:pt x="9064" y="5739"/>
                      <a:pt x="8931" y="5835"/>
                    </a:cubicBezTo>
                    <a:cubicBezTo>
                      <a:pt x="8842" y="5887"/>
                      <a:pt x="8946" y="6259"/>
                      <a:pt x="8730" y="6481"/>
                    </a:cubicBezTo>
                    <a:cubicBezTo>
                      <a:pt x="8612" y="6608"/>
                      <a:pt x="8604" y="6452"/>
                      <a:pt x="8478" y="6571"/>
                    </a:cubicBezTo>
                    <a:cubicBezTo>
                      <a:pt x="8062" y="6957"/>
                      <a:pt x="8277" y="7001"/>
                      <a:pt x="8166" y="7157"/>
                    </a:cubicBezTo>
                    <a:cubicBezTo>
                      <a:pt x="8047" y="7320"/>
                      <a:pt x="7921" y="7268"/>
                      <a:pt x="7832" y="7291"/>
                    </a:cubicBezTo>
                    <a:cubicBezTo>
                      <a:pt x="7788" y="7313"/>
                      <a:pt x="7639" y="7469"/>
                      <a:pt x="7646" y="7513"/>
                    </a:cubicBezTo>
                    <a:cubicBezTo>
                      <a:pt x="7654" y="7595"/>
                      <a:pt x="7468" y="7677"/>
                      <a:pt x="7416" y="7899"/>
                    </a:cubicBezTo>
                    <a:cubicBezTo>
                      <a:pt x="7379" y="8100"/>
                      <a:pt x="7194" y="7944"/>
                      <a:pt x="7112" y="8308"/>
                    </a:cubicBezTo>
                    <a:cubicBezTo>
                      <a:pt x="7082" y="8427"/>
                      <a:pt x="7008" y="8382"/>
                      <a:pt x="6986" y="8605"/>
                    </a:cubicBezTo>
                    <a:cubicBezTo>
                      <a:pt x="6978" y="8723"/>
                      <a:pt x="7105" y="8783"/>
                      <a:pt x="7090" y="8902"/>
                    </a:cubicBezTo>
                    <a:lnTo>
                      <a:pt x="7097" y="9065"/>
                    </a:lnTo>
                    <a:cubicBezTo>
                      <a:pt x="6941" y="9110"/>
                      <a:pt x="6711" y="8857"/>
                      <a:pt x="6696" y="8805"/>
                    </a:cubicBezTo>
                    <a:cubicBezTo>
                      <a:pt x="6622" y="8671"/>
                      <a:pt x="6733" y="8471"/>
                      <a:pt x="6533" y="8471"/>
                    </a:cubicBezTo>
                    <a:cubicBezTo>
                      <a:pt x="6533" y="8471"/>
                      <a:pt x="6429" y="8501"/>
                      <a:pt x="6355" y="8605"/>
                    </a:cubicBezTo>
                    <a:cubicBezTo>
                      <a:pt x="6221" y="8716"/>
                      <a:pt x="5887" y="8545"/>
                      <a:pt x="5835" y="8590"/>
                    </a:cubicBezTo>
                    <a:cubicBezTo>
                      <a:pt x="5798" y="8612"/>
                      <a:pt x="5605" y="8709"/>
                      <a:pt x="5583" y="8716"/>
                    </a:cubicBezTo>
                    <a:cubicBezTo>
                      <a:pt x="5456" y="8760"/>
                      <a:pt x="5367" y="8627"/>
                      <a:pt x="5278" y="8642"/>
                    </a:cubicBezTo>
                    <a:cubicBezTo>
                      <a:pt x="5063" y="8664"/>
                      <a:pt x="4818" y="8248"/>
                      <a:pt x="4469" y="8412"/>
                    </a:cubicBezTo>
                    <a:cubicBezTo>
                      <a:pt x="4395" y="8441"/>
                      <a:pt x="4254" y="8501"/>
                      <a:pt x="4209" y="8486"/>
                    </a:cubicBezTo>
                    <a:cubicBezTo>
                      <a:pt x="4083" y="8434"/>
                      <a:pt x="3972" y="8805"/>
                      <a:pt x="3801" y="8879"/>
                    </a:cubicBezTo>
                    <a:cubicBezTo>
                      <a:pt x="3719" y="8931"/>
                      <a:pt x="3660" y="8865"/>
                      <a:pt x="3586" y="8961"/>
                    </a:cubicBezTo>
                    <a:cubicBezTo>
                      <a:pt x="3519" y="9043"/>
                      <a:pt x="3571" y="9236"/>
                      <a:pt x="3459" y="9288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164"/>
              <p:cNvSpPr>
                <a:spLocks noEditPoints="1"/>
              </p:cNvSpPr>
              <p:nvPr/>
            </p:nvSpPr>
            <p:spPr bwMode="auto">
              <a:xfrm>
                <a:off x="4848263" y="5180389"/>
                <a:ext cx="837365" cy="799506"/>
              </a:xfrm>
              <a:custGeom>
                <a:avLst/>
                <a:gdLst>
                  <a:gd name="T0" fmla="*/ 169 w 5982"/>
                  <a:gd name="T1" fmla="*/ 43 h 5717"/>
                  <a:gd name="T2" fmla="*/ 63 w 5982"/>
                  <a:gd name="T3" fmla="*/ 148 h 5717"/>
                  <a:gd name="T4" fmla="*/ 4 w 5982"/>
                  <a:gd name="T5" fmla="*/ 225 h 5717"/>
                  <a:gd name="T6" fmla="*/ 8 w 5982"/>
                  <a:gd name="T7" fmla="*/ 229 h 5717"/>
                  <a:gd name="T8" fmla="*/ 18 w 5982"/>
                  <a:gd name="T9" fmla="*/ 230 h 5717"/>
                  <a:gd name="T10" fmla="*/ 30 w 5982"/>
                  <a:gd name="T11" fmla="*/ 221 h 5717"/>
                  <a:gd name="T12" fmla="*/ 43 w 5982"/>
                  <a:gd name="T13" fmla="*/ 219 h 5717"/>
                  <a:gd name="T14" fmla="*/ 54 w 5982"/>
                  <a:gd name="T15" fmla="*/ 224 h 5717"/>
                  <a:gd name="T16" fmla="*/ 65 w 5982"/>
                  <a:gd name="T17" fmla="*/ 233 h 5717"/>
                  <a:gd name="T18" fmla="*/ 78 w 5982"/>
                  <a:gd name="T19" fmla="*/ 242 h 5717"/>
                  <a:gd name="T20" fmla="*/ 89 w 5982"/>
                  <a:gd name="T21" fmla="*/ 253 h 5717"/>
                  <a:gd name="T22" fmla="*/ 103 w 5982"/>
                  <a:gd name="T23" fmla="*/ 268 h 5717"/>
                  <a:gd name="T24" fmla="*/ 101 w 5982"/>
                  <a:gd name="T25" fmla="*/ 280 h 5717"/>
                  <a:gd name="T26" fmla="*/ 102 w 5982"/>
                  <a:gd name="T27" fmla="*/ 289 h 5717"/>
                  <a:gd name="T28" fmla="*/ 120 w 5982"/>
                  <a:gd name="T29" fmla="*/ 281 h 5717"/>
                  <a:gd name="T30" fmla="*/ 125 w 5982"/>
                  <a:gd name="T31" fmla="*/ 273 h 5717"/>
                  <a:gd name="T32" fmla="*/ 137 w 5982"/>
                  <a:gd name="T33" fmla="*/ 280 h 5717"/>
                  <a:gd name="T34" fmla="*/ 142 w 5982"/>
                  <a:gd name="T35" fmla="*/ 287 h 5717"/>
                  <a:gd name="T36" fmla="*/ 148 w 5982"/>
                  <a:gd name="T37" fmla="*/ 296 h 5717"/>
                  <a:gd name="T38" fmla="*/ 154 w 5982"/>
                  <a:gd name="T39" fmla="*/ 304 h 5717"/>
                  <a:gd name="T40" fmla="*/ 165 w 5982"/>
                  <a:gd name="T41" fmla="*/ 305 h 5717"/>
                  <a:gd name="T42" fmla="*/ 178 w 5982"/>
                  <a:gd name="T43" fmla="*/ 316 h 5717"/>
                  <a:gd name="T44" fmla="*/ 189 w 5982"/>
                  <a:gd name="T45" fmla="*/ 319 h 5717"/>
                  <a:gd name="T46" fmla="*/ 206 w 5982"/>
                  <a:gd name="T47" fmla="*/ 340 h 5717"/>
                  <a:gd name="T48" fmla="*/ 220 w 5982"/>
                  <a:gd name="T49" fmla="*/ 350 h 5717"/>
                  <a:gd name="T50" fmla="*/ 224 w 5982"/>
                  <a:gd name="T51" fmla="*/ 348 h 5717"/>
                  <a:gd name="T52" fmla="*/ 235 w 5982"/>
                  <a:gd name="T53" fmla="*/ 359 h 5717"/>
                  <a:gd name="T54" fmla="*/ 245 w 5982"/>
                  <a:gd name="T55" fmla="*/ 371 h 5717"/>
                  <a:gd name="T56" fmla="*/ 249 w 5982"/>
                  <a:gd name="T57" fmla="*/ 385 h 5717"/>
                  <a:gd name="T58" fmla="*/ 257 w 5982"/>
                  <a:gd name="T59" fmla="*/ 393 h 5717"/>
                  <a:gd name="T60" fmla="*/ 266 w 5982"/>
                  <a:gd name="T61" fmla="*/ 401 h 5717"/>
                  <a:gd name="T62" fmla="*/ 272 w 5982"/>
                  <a:gd name="T63" fmla="*/ 411 h 5717"/>
                  <a:gd name="T64" fmla="*/ 267 w 5982"/>
                  <a:gd name="T65" fmla="*/ 420 h 5717"/>
                  <a:gd name="T66" fmla="*/ 250 w 5982"/>
                  <a:gd name="T67" fmla="*/ 434 h 5717"/>
                  <a:gd name="T68" fmla="*/ 245 w 5982"/>
                  <a:gd name="T69" fmla="*/ 444 h 5717"/>
                  <a:gd name="T70" fmla="*/ 248 w 5982"/>
                  <a:gd name="T71" fmla="*/ 453 h 5717"/>
                  <a:gd name="T72" fmla="*/ 252 w 5982"/>
                  <a:gd name="T73" fmla="*/ 471 h 5717"/>
                  <a:gd name="T74" fmla="*/ 256 w 5982"/>
                  <a:gd name="T75" fmla="*/ 480 h 5717"/>
                  <a:gd name="T76" fmla="*/ 287 w 5982"/>
                  <a:gd name="T77" fmla="*/ 459 h 5717"/>
                  <a:gd name="T78" fmla="*/ 334 w 5982"/>
                  <a:gd name="T79" fmla="*/ 388 h 5717"/>
                  <a:gd name="T80" fmla="*/ 346 w 5982"/>
                  <a:gd name="T81" fmla="*/ 328 h 5717"/>
                  <a:gd name="T82" fmla="*/ 396 w 5982"/>
                  <a:gd name="T83" fmla="*/ 274 h 5717"/>
                  <a:gd name="T84" fmla="*/ 410 w 5982"/>
                  <a:gd name="T85" fmla="*/ 221 h 5717"/>
                  <a:gd name="T86" fmla="*/ 428 w 5982"/>
                  <a:gd name="T87" fmla="*/ 232 h 5717"/>
                  <a:gd name="T88" fmla="*/ 451 w 5982"/>
                  <a:gd name="T89" fmla="*/ 226 h 5717"/>
                  <a:gd name="T90" fmla="*/ 462 w 5982"/>
                  <a:gd name="T91" fmla="*/ 232 h 5717"/>
                  <a:gd name="T92" fmla="*/ 418 w 5982"/>
                  <a:gd name="T93" fmla="*/ 289 h 5717"/>
                  <a:gd name="T94" fmla="*/ 379 w 5982"/>
                  <a:gd name="T95" fmla="*/ 333 h 5717"/>
                  <a:gd name="T96" fmla="*/ 455 w 5982"/>
                  <a:gd name="T97" fmla="*/ 275 h 5717"/>
                  <a:gd name="T98" fmla="*/ 507 w 5982"/>
                  <a:gd name="T99" fmla="*/ 172 h 5717"/>
                  <a:gd name="T100" fmla="*/ 494 w 5982"/>
                  <a:gd name="T101" fmla="*/ 117 h 5717"/>
                  <a:gd name="T102" fmla="*/ 421 w 5982"/>
                  <a:gd name="T103" fmla="*/ 62 h 5717"/>
                  <a:gd name="T104" fmla="*/ 267 w 5982"/>
                  <a:gd name="T105" fmla="*/ 0 h 5717"/>
                  <a:gd name="T106" fmla="*/ 0 w 5982"/>
                  <a:gd name="T107" fmla="*/ 227 h 571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982" h="5717">
                    <a:moveTo>
                      <a:pt x="2778" y="81"/>
                    </a:moveTo>
                    <a:cubicBezTo>
                      <a:pt x="2718" y="141"/>
                      <a:pt x="2629" y="193"/>
                      <a:pt x="2525" y="230"/>
                    </a:cubicBezTo>
                    <a:cubicBezTo>
                      <a:pt x="2414" y="274"/>
                      <a:pt x="2406" y="327"/>
                      <a:pt x="2295" y="364"/>
                    </a:cubicBezTo>
                    <a:cubicBezTo>
                      <a:pt x="2221" y="386"/>
                      <a:pt x="2013" y="438"/>
                      <a:pt x="1998" y="505"/>
                    </a:cubicBezTo>
                    <a:cubicBezTo>
                      <a:pt x="1939" y="668"/>
                      <a:pt x="1872" y="668"/>
                      <a:pt x="1701" y="742"/>
                    </a:cubicBezTo>
                    <a:cubicBezTo>
                      <a:pt x="1634" y="772"/>
                      <a:pt x="1367" y="965"/>
                      <a:pt x="1360" y="1024"/>
                    </a:cubicBezTo>
                    <a:cubicBezTo>
                      <a:pt x="1345" y="1084"/>
                      <a:pt x="1085" y="1262"/>
                      <a:pt x="1041" y="1344"/>
                    </a:cubicBezTo>
                    <a:cubicBezTo>
                      <a:pt x="951" y="1492"/>
                      <a:pt x="862" y="1648"/>
                      <a:pt x="744" y="1745"/>
                    </a:cubicBezTo>
                    <a:cubicBezTo>
                      <a:pt x="565" y="1900"/>
                      <a:pt x="610" y="2115"/>
                      <a:pt x="410" y="2205"/>
                    </a:cubicBezTo>
                    <a:lnTo>
                      <a:pt x="149" y="2451"/>
                    </a:lnTo>
                    <a:lnTo>
                      <a:pt x="15" y="2647"/>
                    </a:lnTo>
                    <a:cubicBezTo>
                      <a:pt x="27" y="2649"/>
                      <a:pt x="48" y="2654"/>
                      <a:pt x="52" y="2661"/>
                    </a:cubicBezTo>
                    <a:cubicBezTo>
                      <a:pt x="59" y="2672"/>
                      <a:pt x="63" y="2694"/>
                      <a:pt x="63" y="2694"/>
                    </a:cubicBezTo>
                    <a:lnTo>
                      <a:pt x="61" y="2731"/>
                    </a:lnTo>
                    <a:lnTo>
                      <a:pt x="87" y="2731"/>
                    </a:lnTo>
                    <a:lnTo>
                      <a:pt x="100" y="2707"/>
                    </a:lnTo>
                    <a:lnTo>
                      <a:pt x="137" y="2713"/>
                    </a:lnTo>
                    <a:lnTo>
                      <a:pt x="148" y="2739"/>
                    </a:lnTo>
                    <a:lnTo>
                      <a:pt x="194" y="2737"/>
                    </a:lnTo>
                    <a:lnTo>
                      <a:pt x="207" y="2718"/>
                    </a:lnTo>
                    <a:lnTo>
                      <a:pt x="246" y="2722"/>
                    </a:lnTo>
                    <a:lnTo>
                      <a:pt x="265" y="2737"/>
                    </a:lnTo>
                    <a:cubicBezTo>
                      <a:pt x="265" y="2737"/>
                      <a:pt x="311" y="2750"/>
                      <a:pt x="341" y="2711"/>
                    </a:cubicBezTo>
                    <a:cubicBezTo>
                      <a:pt x="372" y="2672"/>
                      <a:pt x="359" y="2615"/>
                      <a:pt x="359" y="2615"/>
                    </a:cubicBezTo>
                    <a:lnTo>
                      <a:pt x="420" y="2598"/>
                    </a:lnTo>
                    <a:lnTo>
                      <a:pt x="452" y="2583"/>
                    </a:lnTo>
                    <a:lnTo>
                      <a:pt x="485" y="2565"/>
                    </a:lnTo>
                    <a:lnTo>
                      <a:pt x="509" y="2583"/>
                    </a:lnTo>
                    <a:lnTo>
                      <a:pt x="555" y="2583"/>
                    </a:lnTo>
                    <a:lnTo>
                      <a:pt x="592" y="2572"/>
                    </a:lnTo>
                    <a:lnTo>
                      <a:pt x="624" y="2611"/>
                    </a:lnTo>
                    <a:lnTo>
                      <a:pt x="635" y="2646"/>
                    </a:lnTo>
                    <a:lnTo>
                      <a:pt x="674" y="2650"/>
                    </a:lnTo>
                    <a:lnTo>
                      <a:pt x="722" y="2687"/>
                    </a:lnTo>
                    <a:lnTo>
                      <a:pt x="737" y="2720"/>
                    </a:lnTo>
                    <a:lnTo>
                      <a:pt x="765" y="2757"/>
                    </a:lnTo>
                    <a:lnTo>
                      <a:pt x="792" y="2757"/>
                    </a:lnTo>
                    <a:lnTo>
                      <a:pt x="852" y="2826"/>
                    </a:lnTo>
                    <a:lnTo>
                      <a:pt x="896" y="2848"/>
                    </a:lnTo>
                    <a:lnTo>
                      <a:pt x="918" y="2861"/>
                    </a:lnTo>
                    <a:lnTo>
                      <a:pt x="918" y="2911"/>
                    </a:lnTo>
                    <a:lnTo>
                      <a:pt x="987" y="2924"/>
                    </a:lnTo>
                    <a:lnTo>
                      <a:pt x="989" y="2952"/>
                    </a:lnTo>
                    <a:lnTo>
                      <a:pt x="1046" y="2992"/>
                    </a:lnTo>
                    <a:lnTo>
                      <a:pt x="1094" y="3050"/>
                    </a:lnTo>
                    <a:lnTo>
                      <a:pt x="1139" y="3092"/>
                    </a:lnTo>
                    <a:lnTo>
                      <a:pt x="1150" y="3148"/>
                    </a:lnTo>
                    <a:lnTo>
                      <a:pt x="1213" y="3165"/>
                    </a:lnTo>
                    <a:lnTo>
                      <a:pt x="1235" y="3198"/>
                    </a:lnTo>
                    <a:lnTo>
                      <a:pt x="1235" y="3242"/>
                    </a:lnTo>
                    <a:lnTo>
                      <a:pt x="1200" y="3272"/>
                    </a:lnTo>
                    <a:lnTo>
                      <a:pt x="1192" y="3307"/>
                    </a:lnTo>
                    <a:lnTo>
                      <a:pt x="1209" y="3333"/>
                    </a:lnTo>
                    <a:lnTo>
                      <a:pt x="1211" y="3359"/>
                    </a:lnTo>
                    <a:lnTo>
                      <a:pt x="1203" y="3383"/>
                    </a:lnTo>
                    <a:lnTo>
                      <a:pt x="1200" y="3416"/>
                    </a:lnTo>
                    <a:lnTo>
                      <a:pt x="1296" y="3420"/>
                    </a:lnTo>
                    <a:lnTo>
                      <a:pt x="1350" y="3387"/>
                    </a:lnTo>
                    <a:lnTo>
                      <a:pt x="1398" y="3342"/>
                    </a:lnTo>
                    <a:lnTo>
                      <a:pt x="1416" y="3318"/>
                    </a:lnTo>
                    <a:lnTo>
                      <a:pt x="1459" y="3309"/>
                    </a:lnTo>
                    <a:lnTo>
                      <a:pt x="1470" y="3289"/>
                    </a:lnTo>
                    <a:lnTo>
                      <a:pt x="1459" y="3257"/>
                    </a:lnTo>
                    <a:lnTo>
                      <a:pt x="1472" y="3224"/>
                    </a:lnTo>
                    <a:lnTo>
                      <a:pt x="1522" y="3213"/>
                    </a:lnTo>
                    <a:cubicBezTo>
                      <a:pt x="1537" y="3242"/>
                      <a:pt x="1546" y="3268"/>
                      <a:pt x="1546" y="3268"/>
                    </a:cubicBezTo>
                    <a:lnTo>
                      <a:pt x="1583" y="3296"/>
                    </a:lnTo>
                    <a:lnTo>
                      <a:pt x="1622" y="3309"/>
                    </a:lnTo>
                    <a:lnTo>
                      <a:pt x="1640" y="3335"/>
                    </a:lnTo>
                    <a:lnTo>
                      <a:pt x="1629" y="3363"/>
                    </a:lnTo>
                    <a:lnTo>
                      <a:pt x="1670" y="3366"/>
                    </a:lnTo>
                    <a:lnTo>
                      <a:pt x="1674" y="3392"/>
                    </a:lnTo>
                    <a:lnTo>
                      <a:pt x="1700" y="3420"/>
                    </a:lnTo>
                    <a:lnTo>
                      <a:pt x="1705" y="3452"/>
                    </a:lnTo>
                    <a:lnTo>
                      <a:pt x="1694" y="3481"/>
                    </a:lnTo>
                    <a:lnTo>
                      <a:pt x="1746" y="3492"/>
                    </a:lnTo>
                    <a:lnTo>
                      <a:pt x="1763" y="3531"/>
                    </a:lnTo>
                    <a:lnTo>
                      <a:pt x="1770" y="3570"/>
                    </a:lnTo>
                    <a:lnTo>
                      <a:pt x="1794" y="3598"/>
                    </a:lnTo>
                    <a:lnTo>
                      <a:pt x="1818" y="3592"/>
                    </a:lnTo>
                    <a:lnTo>
                      <a:pt x="1866" y="3631"/>
                    </a:lnTo>
                    <a:lnTo>
                      <a:pt x="1907" y="3629"/>
                    </a:lnTo>
                    <a:lnTo>
                      <a:pt x="1914" y="3600"/>
                    </a:lnTo>
                    <a:lnTo>
                      <a:pt x="1946" y="3600"/>
                    </a:lnTo>
                    <a:lnTo>
                      <a:pt x="1983" y="3674"/>
                    </a:lnTo>
                    <a:lnTo>
                      <a:pt x="2024" y="3685"/>
                    </a:lnTo>
                    <a:lnTo>
                      <a:pt x="2064" y="3731"/>
                    </a:lnTo>
                    <a:lnTo>
                      <a:pt x="2096" y="3735"/>
                    </a:lnTo>
                    <a:lnTo>
                      <a:pt x="2120" y="3718"/>
                    </a:lnTo>
                    <a:lnTo>
                      <a:pt x="2148" y="3731"/>
                    </a:lnTo>
                    <a:lnTo>
                      <a:pt x="2177" y="3759"/>
                    </a:lnTo>
                    <a:lnTo>
                      <a:pt x="2231" y="3763"/>
                    </a:lnTo>
                    <a:lnTo>
                      <a:pt x="2279" y="3811"/>
                    </a:lnTo>
                    <a:lnTo>
                      <a:pt x="2335" y="3863"/>
                    </a:lnTo>
                    <a:lnTo>
                      <a:pt x="2333" y="3942"/>
                    </a:lnTo>
                    <a:lnTo>
                      <a:pt x="2427" y="4011"/>
                    </a:lnTo>
                    <a:lnTo>
                      <a:pt x="2477" y="4083"/>
                    </a:lnTo>
                    <a:lnTo>
                      <a:pt x="2527" y="4118"/>
                    </a:lnTo>
                    <a:lnTo>
                      <a:pt x="2555" y="4129"/>
                    </a:lnTo>
                    <a:lnTo>
                      <a:pt x="2598" y="4129"/>
                    </a:lnTo>
                    <a:lnTo>
                      <a:pt x="2609" y="4112"/>
                    </a:lnTo>
                    <a:lnTo>
                      <a:pt x="2624" y="4115"/>
                    </a:lnTo>
                    <a:lnTo>
                      <a:pt x="2626" y="4139"/>
                    </a:lnTo>
                    <a:lnTo>
                      <a:pt x="2645" y="4114"/>
                    </a:lnTo>
                    <a:lnTo>
                      <a:pt x="2673" y="4122"/>
                    </a:lnTo>
                    <a:lnTo>
                      <a:pt x="2668" y="4163"/>
                    </a:lnTo>
                    <a:lnTo>
                      <a:pt x="2711" y="4163"/>
                    </a:lnTo>
                    <a:lnTo>
                      <a:pt x="2768" y="4237"/>
                    </a:lnTo>
                    <a:lnTo>
                      <a:pt x="2840" y="4266"/>
                    </a:lnTo>
                    <a:lnTo>
                      <a:pt x="2853" y="4298"/>
                    </a:lnTo>
                    <a:lnTo>
                      <a:pt x="2842" y="4324"/>
                    </a:lnTo>
                    <a:lnTo>
                      <a:pt x="2887" y="4383"/>
                    </a:lnTo>
                    <a:lnTo>
                      <a:pt x="2918" y="4439"/>
                    </a:lnTo>
                    <a:lnTo>
                      <a:pt x="2920" y="4507"/>
                    </a:lnTo>
                    <a:lnTo>
                      <a:pt x="2922" y="4543"/>
                    </a:lnTo>
                    <a:lnTo>
                      <a:pt x="2936" y="4553"/>
                    </a:lnTo>
                    <a:cubicBezTo>
                      <a:pt x="2936" y="4553"/>
                      <a:pt x="2954" y="4580"/>
                      <a:pt x="2956" y="4584"/>
                    </a:cubicBezTo>
                    <a:cubicBezTo>
                      <a:pt x="2957" y="4588"/>
                      <a:pt x="2975" y="4617"/>
                      <a:pt x="2975" y="4617"/>
                    </a:cubicBezTo>
                    <a:cubicBezTo>
                      <a:pt x="2975" y="4617"/>
                      <a:pt x="2992" y="4633"/>
                      <a:pt x="2998" y="4636"/>
                    </a:cubicBezTo>
                    <a:cubicBezTo>
                      <a:pt x="3003" y="4638"/>
                      <a:pt x="3032" y="4648"/>
                      <a:pt x="3032" y="4648"/>
                    </a:cubicBezTo>
                    <a:lnTo>
                      <a:pt x="3047" y="4663"/>
                    </a:lnTo>
                    <a:lnTo>
                      <a:pt x="3065" y="4692"/>
                    </a:lnTo>
                    <a:lnTo>
                      <a:pt x="3105" y="4714"/>
                    </a:lnTo>
                    <a:lnTo>
                      <a:pt x="3144" y="4741"/>
                    </a:lnTo>
                    <a:lnTo>
                      <a:pt x="3189" y="4739"/>
                    </a:lnTo>
                    <a:lnTo>
                      <a:pt x="3235" y="4783"/>
                    </a:lnTo>
                    <a:lnTo>
                      <a:pt x="3233" y="4843"/>
                    </a:lnTo>
                    <a:lnTo>
                      <a:pt x="3205" y="4852"/>
                    </a:lnTo>
                    <a:lnTo>
                      <a:pt x="3186" y="4863"/>
                    </a:lnTo>
                    <a:lnTo>
                      <a:pt x="3144" y="4878"/>
                    </a:lnTo>
                    <a:lnTo>
                      <a:pt x="3157" y="4923"/>
                    </a:lnTo>
                    <a:lnTo>
                      <a:pt x="3154" y="4963"/>
                    </a:lnTo>
                    <a:lnTo>
                      <a:pt x="3109" y="5008"/>
                    </a:lnTo>
                    <a:lnTo>
                      <a:pt x="3108" y="5042"/>
                    </a:lnTo>
                    <a:lnTo>
                      <a:pt x="3005" y="5046"/>
                    </a:lnTo>
                    <a:lnTo>
                      <a:pt x="2951" y="5126"/>
                    </a:lnTo>
                    <a:lnTo>
                      <a:pt x="2916" y="5139"/>
                    </a:lnTo>
                    <a:lnTo>
                      <a:pt x="2899" y="5180"/>
                    </a:lnTo>
                    <a:lnTo>
                      <a:pt x="2921" y="5228"/>
                    </a:lnTo>
                    <a:lnTo>
                      <a:pt x="2888" y="5249"/>
                    </a:lnTo>
                    <a:lnTo>
                      <a:pt x="2912" y="5283"/>
                    </a:lnTo>
                    <a:lnTo>
                      <a:pt x="2940" y="5291"/>
                    </a:lnTo>
                    <a:lnTo>
                      <a:pt x="2948" y="5321"/>
                    </a:lnTo>
                    <a:lnTo>
                      <a:pt x="2926" y="5347"/>
                    </a:lnTo>
                    <a:lnTo>
                      <a:pt x="2930" y="5409"/>
                    </a:lnTo>
                    <a:lnTo>
                      <a:pt x="2939" y="5478"/>
                    </a:lnTo>
                    <a:lnTo>
                      <a:pt x="2964" y="5529"/>
                    </a:lnTo>
                    <a:cubicBezTo>
                      <a:pt x="2964" y="5529"/>
                      <a:pt x="2978" y="5539"/>
                      <a:pt x="2978" y="5569"/>
                    </a:cubicBezTo>
                    <a:cubicBezTo>
                      <a:pt x="2978" y="5598"/>
                      <a:pt x="2945" y="5614"/>
                      <a:pt x="2945" y="5614"/>
                    </a:cubicBezTo>
                    <a:lnTo>
                      <a:pt x="2945" y="5665"/>
                    </a:lnTo>
                    <a:lnTo>
                      <a:pt x="2973" y="5670"/>
                    </a:lnTo>
                    <a:lnTo>
                      <a:pt x="3018" y="5668"/>
                    </a:lnTo>
                    <a:lnTo>
                      <a:pt x="3034" y="5698"/>
                    </a:lnTo>
                    <a:lnTo>
                      <a:pt x="3043" y="5705"/>
                    </a:lnTo>
                    <a:lnTo>
                      <a:pt x="3080" y="5717"/>
                    </a:lnTo>
                    <a:lnTo>
                      <a:pt x="3386" y="5419"/>
                    </a:lnTo>
                    <a:lnTo>
                      <a:pt x="3646" y="5189"/>
                    </a:lnTo>
                    <a:lnTo>
                      <a:pt x="3771" y="5049"/>
                    </a:lnTo>
                    <a:lnTo>
                      <a:pt x="3901" y="4831"/>
                    </a:lnTo>
                    <a:lnTo>
                      <a:pt x="3938" y="4588"/>
                    </a:lnTo>
                    <a:lnTo>
                      <a:pt x="4018" y="4429"/>
                    </a:lnTo>
                    <a:lnTo>
                      <a:pt x="4133" y="4262"/>
                    </a:lnTo>
                    <a:lnTo>
                      <a:pt x="4061" y="4089"/>
                    </a:lnTo>
                    <a:lnTo>
                      <a:pt x="4082" y="3877"/>
                    </a:lnTo>
                    <a:lnTo>
                      <a:pt x="4242" y="3811"/>
                    </a:lnTo>
                    <a:lnTo>
                      <a:pt x="4305" y="3511"/>
                    </a:lnTo>
                    <a:lnTo>
                      <a:pt x="4527" y="3474"/>
                    </a:lnTo>
                    <a:lnTo>
                      <a:pt x="4667" y="3233"/>
                    </a:lnTo>
                    <a:lnTo>
                      <a:pt x="4753" y="2974"/>
                    </a:lnTo>
                    <a:lnTo>
                      <a:pt x="4833" y="2827"/>
                    </a:lnTo>
                    <a:lnTo>
                      <a:pt x="4868" y="2676"/>
                    </a:lnTo>
                    <a:lnTo>
                      <a:pt x="4837" y="2605"/>
                    </a:lnTo>
                    <a:lnTo>
                      <a:pt x="4925" y="2592"/>
                    </a:lnTo>
                    <a:lnTo>
                      <a:pt x="4990" y="2635"/>
                    </a:lnTo>
                    <a:lnTo>
                      <a:pt x="5054" y="2649"/>
                    </a:lnTo>
                    <a:lnTo>
                      <a:pt x="5049" y="2742"/>
                    </a:lnTo>
                    <a:lnTo>
                      <a:pt x="5118" y="2770"/>
                    </a:lnTo>
                    <a:lnTo>
                      <a:pt x="5189" y="2730"/>
                    </a:lnTo>
                    <a:lnTo>
                      <a:pt x="5231" y="2688"/>
                    </a:lnTo>
                    <a:lnTo>
                      <a:pt x="5326" y="2668"/>
                    </a:lnTo>
                    <a:lnTo>
                      <a:pt x="5355" y="2584"/>
                    </a:lnTo>
                    <a:lnTo>
                      <a:pt x="5456" y="2588"/>
                    </a:lnTo>
                    <a:lnTo>
                      <a:pt x="5475" y="2652"/>
                    </a:lnTo>
                    <a:lnTo>
                      <a:pt x="5452" y="2746"/>
                    </a:lnTo>
                    <a:lnTo>
                      <a:pt x="5342" y="2793"/>
                    </a:lnTo>
                    <a:lnTo>
                      <a:pt x="5319" y="3057"/>
                    </a:lnTo>
                    <a:lnTo>
                      <a:pt x="5119" y="3232"/>
                    </a:lnTo>
                    <a:lnTo>
                      <a:pt x="4937" y="3410"/>
                    </a:lnTo>
                    <a:lnTo>
                      <a:pt x="4938" y="3467"/>
                    </a:lnTo>
                    <a:lnTo>
                      <a:pt x="4915" y="3555"/>
                    </a:lnTo>
                    <a:lnTo>
                      <a:pt x="4707" y="3764"/>
                    </a:lnTo>
                    <a:lnTo>
                      <a:pt x="4469" y="3937"/>
                    </a:lnTo>
                    <a:lnTo>
                      <a:pt x="4277" y="3972"/>
                    </a:lnTo>
                    <a:lnTo>
                      <a:pt x="4277" y="4140"/>
                    </a:lnTo>
                    <a:cubicBezTo>
                      <a:pt x="4277" y="4208"/>
                      <a:pt x="4376" y="4066"/>
                      <a:pt x="4427" y="4046"/>
                    </a:cubicBezTo>
                    <a:cubicBezTo>
                      <a:pt x="4974" y="3711"/>
                      <a:pt x="5196" y="3506"/>
                      <a:pt x="5371" y="3254"/>
                    </a:cubicBezTo>
                    <a:cubicBezTo>
                      <a:pt x="5450" y="3140"/>
                      <a:pt x="5520" y="3015"/>
                      <a:pt x="5607" y="2863"/>
                    </a:cubicBezTo>
                    <a:cubicBezTo>
                      <a:pt x="5642" y="2802"/>
                      <a:pt x="5646" y="2710"/>
                      <a:pt x="5690" y="2639"/>
                    </a:cubicBezTo>
                    <a:cubicBezTo>
                      <a:pt x="5762" y="2473"/>
                      <a:pt x="5830" y="2356"/>
                      <a:pt x="5898" y="2198"/>
                    </a:cubicBezTo>
                    <a:cubicBezTo>
                      <a:pt x="5921" y="2145"/>
                      <a:pt x="5948" y="2073"/>
                      <a:pt x="5982" y="2030"/>
                    </a:cubicBezTo>
                    <a:cubicBezTo>
                      <a:pt x="5982" y="2030"/>
                      <a:pt x="5859" y="1841"/>
                      <a:pt x="5718" y="1841"/>
                    </a:cubicBezTo>
                    <a:cubicBezTo>
                      <a:pt x="5673" y="1841"/>
                      <a:pt x="5569" y="1975"/>
                      <a:pt x="5539" y="1848"/>
                    </a:cubicBezTo>
                    <a:cubicBezTo>
                      <a:pt x="5532" y="1782"/>
                      <a:pt x="5621" y="1760"/>
                      <a:pt x="5666" y="1715"/>
                    </a:cubicBezTo>
                    <a:cubicBezTo>
                      <a:pt x="5762" y="1618"/>
                      <a:pt x="5628" y="1544"/>
                      <a:pt x="5829" y="1381"/>
                    </a:cubicBezTo>
                    <a:cubicBezTo>
                      <a:pt x="5859" y="1351"/>
                      <a:pt x="5925" y="1329"/>
                      <a:pt x="5925" y="1292"/>
                    </a:cubicBezTo>
                    <a:cubicBezTo>
                      <a:pt x="5925" y="1210"/>
                      <a:pt x="5888" y="1158"/>
                      <a:pt x="5666" y="1173"/>
                    </a:cubicBezTo>
                    <a:cubicBezTo>
                      <a:pt x="5480" y="1195"/>
                      <a:pt x="5428" y="1210"/>
                      <a:pt x="5265" y="1114"/>
                    </a:cubicBezTo>
                    <a:cubicBezTo>
                      <a:pt x="5146" y="1039"/>
                      <a:pt x="5042" y="846"/>
                      <a:pt x="4968" y="735"/>
                    </a:cubicBezTo>
                    <a:cubicBezTo>
                      <a:pt x="4894" y="624"/>
                      <a:pt x="4567" y="371"/>
                      <a:pt x="4389" y="349"/>
                    </a:cubicBezTo>
                    <a:cubicBezTo>
                      <a:pt x="4196" y="327"/>
                      <a:pt x="4211" y="163"/>
                      <a:pt x="3906" y="119"/>
                    </a:cubicBezTo>
                    <a:cubicBezTo>
                      <a:pt x="3787" y="96"/>
                      <a:pt x="3698" y="148"/>
                      <a:pt x="3587" y="111"/>
                    </a:cubicBezTo>
                    <a:cubicBezTo>
                      <a:pt x="3468" y="74"/>
                      <a:pt x="3327" y="0"/>
                      <a:pt x="3156" y="0"/>
                    </a:cubicBezTo>
                    <a:cubicBezTo>
                      <a:pt x="3052" y="0"/>
                      <a:pt x="3015" y="89"/>
                      <a:pt x="2874" y="89"/>
                    </a:cubicBezTo>
                    <a:cubicBezTo>
                      <a:pt x="2837" y="89"/>
                      <a:pt x="2815" y="81"/>
                      <a:pt x="2778" y="81"/>
                    </a:cubicBezTo>
                    <a:close/>
                    <a:moveTo>
                      <a:pt x="3" y="2664"/>
                    </a:moveTo>
                    <a:cubicBezTo>
                      <a:pt x="0" y="2667"/>
                      <a:pt x="0" y="2672"/>
                      <a:pt x="2" y="2680"/>
                    </a:cubicBezTo>
                    <a:lnTo>
                      <a:pt x="3" y="2664"/>
                    </a:lnTo>
                    <a:close/>
                  </a:path>
                </a:pathLst>
              </a:custGeom>
              <a:solidFill>
                <a:srgbClr val="9FDE74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165"/>
              <p:cNvSpPr>
                <a:spLocks/>
              </p:cNvSpPr>
              <p:nvPr/>
            </p:nvSpPr>
            <p:spPr bwMode="auto">
              <a:xfrm>
                <a:off x="5328881" y="4303245"/>
                <a:ext cx="992616" cy="665704"/>
              </a:xfrm>
              <a:custGeom>
                <a:avLst/>
                <a:gdLst>
                  <a:gd name="T0" fmla="*/ 546 w 7083"/>
                  <a:gd name="T1" fmla="*/ 282 h 4758"/>
                  <a:gd name="T2" fmla="*/ 504 w 7083"/>
                  <a:gd name="T3" fmla="*/ 307 h 4758"/>
                  <a:gd name="T4" fmla="*/ 473 w 7083"/>
                  <a:gd name="T5" fmla="*/ 307 h 4758"/>
                  <a:gd name="T6" fmla="*/ 393 w 7083"/>
                  <a:gd name="T7" fmla="*/ 352 h 4758"/>
                  <a:gd name="T8" fmla="*/ 337 w 7083"/>
                  <a:gd name="T9" fmla="*/ 388 h 4758"/>
                  <a:gd name="T10" fmla="*/ 301 w 7083"/>
                  <a:gd name="T11" fmla="*/ 380 h 4758"/>
                  <a:gd name="T12" fmla="*/ 291 w 7083"/>
                  <a:gd name="T13" fmla="*/ 377 h 4758"/>
                  <a:gd name="T14" fmla="*/ 280 w 7083"/>
                  <a:gd name="T15" fmla="*/ 357 h 4758"/>
                  <a:gd name="T16" fmla="*/ 243 w 7083"/>
                  <a:gd name="T17" fmla="*/ 349 h 4758"/>
                  <a:gd name="T18" fmla="*/ 227 w 7083"/>
                  <a:gd name="T19" fmla="*/ 299 h 4758"/>
                  <a:gd name="T20" fmla="*/ 149 w 7083"/>
                  <a:gd name="T21" fmla="*/ 228 h 4758"/>
                  <a:gd name="T22" fmla="*/ 96 w 7083"/>
                  <a:gd name="T23" fmla="*/ 213 h 4758"/>
                  <a:gd name="T24" fmla="*/ 0 w 7083"/>
                  <a:gd name="T25" fmla="*/ 202 h 4758"/>
                  <a:gd name="T26" fmla="*/ 63 w 7083"/>
                  <a:gd name="T27" fmla="*/ 135 h 4758"/>
                  <a:gd name="T28" fmla="*/ 92 w 7083"/>
                  <a:gd name="T29" fmla="*/ 85 h 4758"/>
                  <a:gd name="T30" fmla="*/ 138 w 7083"/>
                  <a:gd name="T31" fmla="*/ 24 h 4758"/>
                  <a:gd name="T32" fmla="*/ 193 w 7083"/>
                  <a:gd name="T33" fmla="*/ 12 h 4758"/>
                  <a:gd name="T34" fmla="*/ 253 w 7083"/>
                  <a:gd name="T35" fmla="*/ 17 h 4758"/>
                  <a:gd name="T36" fmla="*/ 272 w 7083"/>
                  <a:gd name="T37" fmla="*/ 39 h 4758"/>
                  <a:gd name="T38" fmla="*/ 290 w 7083"/>
                  <a:gd name="T39" fmla="*/ 35 h 4758"/>
                  <a:gd name="T40" fmla="*/ 343 w 7083"/>
                  <a:gd name="T41" fmla="*/ 33 h 4758"/>
                  <a:gd name="T42" fmla="*/ 369 w 7083"/>
                  <a:gd name="T43" fmla="*/ 26 h 4758"/>
                  <a:gd name="T44" fmla="*/ 395 w 7083"/>
                  <a:gd name="T45" fmla="*/ 41 h 4758"/>
                  <a:gd name="T46" fmla="*/ 404 w 7083"/>
                  <a:gd name="T47" fmla="*/ 67 h 4758"/>
                  <a:gd name="T48" fmla="*/ 406 w 7083"/>
                  <a:gd name="T49" fmla="*/ 121 h 4758"/>
                  <a:gd name="T50" fmla="*/ 430 w 7083"/>
                  <a:gd name="T51" fmla="*/ 165 h 4758"/>
                  <a:gd name="T52" fmla="*/ 428 w 7083"/>
                  <a:gd name="T53" fmla="*/ 196 h 4758"/>
                  <a:gd name="T54" fmla="*/ 456 w 7083"/>
                  <a:gd name="T55" fmla="*/ 236 h 4758"/>
                  <a:gd name="T56" fmla="*/ 496 w 7083"/>
                  <a:gd name="T57" fmla="*/ 216 h 4758"/>
                  <a:gd name="T58" fmla="*/ 544 w 7083"/>
                  <a:gd name="T59" fmla="*/ 207 h 4758"/>
                  <a:gd name="T60" fmla="*/ 595 w 7083"/>
                  <a:gd name="T61" fmla="*/ 222 h 4758"/>
                  <a:gd name="T62" fmla="*/ 550 w 7083"/>
                  <a:gd name="T63" fmla="*/ 262 h 475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083" h="4758">
                    <a:moveTo>
                      <a:pt x="6615" y="3311"/>
                    </a:moveTo>
                    <a:cubicBezTo>
                      <a:pt x="6548" y="3333"/>
                      <a:pt x="6474" y="3333"/>
                      <a:pt x="6437" y="3333"/>
                    </a:cubicBezTo>
                    <a:cubicBezTo>
                      <a:pt x="6296" y="3378"/>
                      <a:pt x="6199" y="3474"/>
                      <a:pt x="6029" y="3496"/>
                    </a:cubicBezTo>
                    <a:cubicBezTo>
                      <a:pt x="6029" y="3496"/>
                      <a:pt x="5925" y="3533"/>
                      <a:pt x="5939" y="3622"/>
                    </a:cubicBezTo>
                    <a:cubicBezTo>
                      <a:pt x="5925" y="3667"/>
                      <a:pt x="5858" y="3682"/>
                      <a:pt x="5836" y="3667"/>
                    </a:cubicBezTo>
                    <a:cubicBezTo>
                      <a:pt x="5769" y="3615"/>
                      <a:pt x="5665" y="3622"/>
                      <a:pt x="5576" y="3630"/>
                    </a:cubicBezTo>
                    <a:cubicBezTo>
                      <a:pt x="5479" y="3637"/>
                      <a:pt x="5420" y="3764"/>
                      <a:pt x="5316" y="3778"/>
                    </a:cubicBezTo>
                    <a:cubicBezTo>
                      <a:pt x="4974" y="3816"/>
                      <a:pt x="4893" y="3949"/>
                      <a:pt x="4633" y="4157"/>
                    </a:cubicBezTo>
                    <a:cubicBezTo>
                      <a:pt x="4492" y="4276"/>
                      <a:pt x="4462" y="4253"/>
                      <a:pt x="4299" y="4357"/>
                    </a:cubicBezTo>
                    <a:cubicBezTo>
                      <a:pt x="4150" y="4454"/>
                      <a:pt x="4076" y="4528"/>
                      <a:pt x="3972" y="4580"/>
                    </a:cubicBezTo>
                    <a:cubicBezTo>
                      <a:pt x="3794" y="4692"/>
                      <a:pt x="4047" y="4639"/>
                      <a:pt x="3905" y="4758"/>
                    </a:cubicBezTo>
                    <a:cubicBezTo>
                      <a:pt x="3690" y="4758"/>
                      <a:pt x="3750" y="4521"/>
                      <a:pt x="3542" y="4491"/>
                    </a:cubicBezTo>
                    <a:cubicBezTo>
                      <a:pt x="3527" y="4551"/>
                      <a:pt x="3482" y="4595"/>
                      <a:pt x="3430" y="4595"/>
                    </a:cubicBezTo>
                    <a:lnTo>
                      <a:pt x="3430" y="4446"/>
                    </a:lnTo>
                    <a:cubicBezTo>
                      <a:pt x="3490" y="4395"/>
                      <a:pt x="3497" y="4387"/>
                      <a:pt x="3505" y="4298"/>
                    </a:cubicBezTo>
                    <a:cubicBezTo>
                      <a:pt x="3430" y="4261"/>
                      <a:pt x="3371" y="4261"/>
                      <a:pt x="3304" y="4216"/>
                    </a:cubicBezTo>
                    <a:lnTo>
                      <a:pt x="2948" y="4216"/>
                    </a:lnTo>
                    <a:cubicBezTo>
                      <a:pt x="2911" y="4194"/>
                      <a:pt x="2866" y="4164"/>
                      <a:pt x="2866" y="4120"/>
                    </a:cubicBezTo>
                    <a:cubicBezTo>
                      <a:pt x="2866" y="4083"/>
                      <a:pt x="2948" y="3994"/>
                      <a:pt x="2970" y="3979"/>
                    </a:cubicBezTo>
                    <a:cubicBezTo>
                      <a:pt x="2925" y="3912"/>
                      <a:pt x="2681" y="3570"/>
                      <a:pt x="2681" y="3526"/>
                    </a:cubicBezTo>
                    <a:cubicBezTo>
                      <a:pt x="2681" y="3236"/>
                      <a:pt x="2732" y="2872"/>
                      <a:pt x="2421" y="2724"/>
                    </a:cubicBezTo>
                    <a:cubicBezTo>
                      <a:pt x="2190" y="2613"/>
                      <a:pt x="2005" y="2739"/>
                      <a:pt x="1752" y="2687"/>
                    </a:cubicBezTo>
                    <a:cubicBezTo>
                      <a:pt x="1626" y="2665"/>
                      <a:pt x="1448" y="2464"/>
                      <a:pt x="1322" y="2464"/>
                    </a:cubicBezTo>
                    <a:cubicBezTo>
                      <a:pt x="1255" y="2464"/>
                      <a:pt x="1203" y="2509"/>
                      <a:pt x="1136" y="2509"/>
                    </a:cubicBezTo>
                    <a:cubicBezTo>
                      <a:pt x="980" y="2509"/>
                      <a:pt x="891" y="2390"/>
                      <a:pt x="773" y="2390"/>
                    </a:cubicBezTo>
                    <a:cubicBezTo>
                      <a:pt x="587" y="2390"/>
                      <a:pt x="290" y="2434"/>
                      <a:pt x="0" y="2390"/>
                    </a:cubicBezTo>
                    <a:cubicBezTo>
                      <a:pt x="82" y="2293"/>
                      <a:pt x="127" y="2197"/>
                      <a:pt x="349" y="2138"/>
                    </a:cubicBezTo>
                    <a:cubicBezTo>
                      <a:pt x="535" y="2078"/>
                      <a:pt x="750" y="1700"/>
                      <a:pt x="743" y="1588"/>
                    </a:cubicBezTo>
                    <a:cubicBezTo>
                      <a:pt x="721" y="1455"/>
                      <a:pt x="854" y="1551"/>
                      <a:pt x="891" y="1440"/>
                    </a:cubicBezTo>
                    <a:cubicBezTo>
                      <a:pt x="899" y="1099"/>
                      <a:pt x="1070" y="1099"/>
                      <a:pt x="1084" y="1009"/>
                    </a:cubicBezTo>
                    <a:cubicBezTo>
                      <a:pt x="1144" y="608"/>
                      <a:pt x="1285" y="698"/>
                      <a:pt x="1329" y="579"/>
                    </a:cubicBezTo>
                    <a:cubicBezTo>
                      <a:pt x="1404" y="386"/>
                      <a:pt x="1634" y="594"/>
                      <a:pt x="1626" y="282"/>
                    </a:cubicBezTo>
                    <a:cubicBezTo>
                      <a:pt x="1975" y="192"/>
                      <a:pt x="2012" y="0"/>
                      <a:pt x="2064" y="44"/>
                    </a:cubicBezTo>
                    <a:cubicBezTo>
                      <a:pt x="2176" y="118"/>
                      <a:pt x="2168" y="133"/>
                      <a:pt x="2272" y="141"/>
                    </a:cubicBezTo>
                    <a:cubicBezTo>
                      <a:pt x="2354" y="148"/>
                      <a:pt x="2525" y="200"/>
                      <a:pt x="2592" y="200"/>
                    </a:cubicBezTo>
                    <a:cubicBezTo>
                      <a:pt x="2658" y="200"/>
                      <a:pt x="2888" y="215"/>
                      <a:pt x="2985" y="200"/>
                    </a:cubicBezTo>
                    <a:cubicBezTo>
                      <a:pt x="3044" y="319"/>
                      <a:pt x="2970" y="438"/>
                      <a:pt x="3066" y="512"/>
                    </a:cubicBezTo>
                    <a:cubicBezTo>
                      <a:pt x="3119" y="534"/>
                      <a:pt x="3148" y="438"/>
                      <a:pt x="3208" y="460"/>
                    </a:cubicBezTo>
                    <a:cubicBezTo>
                      <a:pt x="3386" y="497"/>
                      <a:pt x="3289" y="616"/>
                      <a:pt x="3349" y="549"/>
                    </a:cubicBezTo>
                    <a:cubicBezTo>
                      <a:pt x="3349" y="549"/>
                      <a:pt x="3304" y="430"/>
                      <a:pt x="3415" y="415"/>
                    </a:cubicBezTo>
                    <a:cubicBezTo>
                      <a:pt x="3556" y="393"/>
                      <a:pt x="3601" y="393"/>
                      <a:pt x="3712" y="371"/>
                    </a:cubicBezTo>
                    <a:cubicBezTo>
                      <a:pt x="3853" y="334"/>
                      <a:pt x="3920" y="430"/>
                      <a:pt x="4039" y="393"/>
                    </a:cubicBezTo>
                    <a:cubicBezTo>
                      <a:pt x="4210" y="415"/>
                      <a:pt x="4165" y="363"/>
                      <a:pt x="4202" y="282"/>
                    </a:cubicBezTo>
                    <a:cubicBezTo>
                      <a:pt x="4277" y="297"/>
                      <a:pt x="4306" y="260"/>
                      <a:pt x="4351" y="311"/>
                    </a:cubicBezTo>
                    <a:cubicBezTo>
                      <a:pt x="4381" y="289"/>
                      <a:pt x="4440" y="260"/>
                      <a:pt x="4492" y="282"/>
                    </a:cubicBezTo>
                    <a:cubicBezTo>
                      <a:pt x="4551" y="378"/>
                      <a:pt x="4655" y="348"/>
                      <a:pt x="4655" y="482"/>
                    </a:cubicBezTo>
                    <a:cubicBezTo>
                      <a:pt x="4655" y="527"/>
                      <a:pt x="4633" y="631"/>
                      <a:pt x="4633" y="653"/>
                    </a:cubicBezTo>
                    <a:cubicBezTo>
                      <a:pt x="4633" y="749"/>
                      <a:pt x="4759" y="698"/>
                      <a:pt x="4759" y="794"/>
                    </a:cubicBezTo>
                    <a:cubicBezTo>
                      <a:pt x="4759" y="875"/>
                      <a:pt x="4663" y="920"/>
                      <a:pt x="4663" y="1002"/>
                    </a:cubicBezTo>
                    <a:cubicBezTo>
                      <a:pt x="4663" y="1061"/>
                      <a:pt x="4782" y="1410"/>
                      <a:pt x="4789" y="1432"/>
                    </a:cubicBezTo>
                    <a:cubicBezTo>
                      <a:pt x="4863" y="1618"/>
                      <a:pt x="5145" y="1351"/>
                      <a:pt x="5190" y="1633"/>
                    </a:cubicBezTo>
                    <a:cubicBezTo>
                      <a:pt x="5204" y="1744"/>
                      <a:pt x="5078" y="1670"/>
                      <a:pt x="5064" y="1945"/>
                    </a:cubicBezTo>
                    <a:cubicBezTo>
                      <a:pt x="5056" y="2004"/>
                      <a:pt x="5026" y="2108"/>
                      <a:pt x="5049" y="2115"/>
                    </a:cubicBezTo>
                    <a:cubicBezTo>
                      <a:pt x="5041" y="2204"/>
                      <a:pt x="5041" y="2234"/>
                      <a:pt x="5041" y="2316"/>
                    </a:cubicBezTo>
                    <a:cubicBezTo>
                      <a:pt x="5041" y="2449"/>
                      <a:pt x="5242" y="2353"/>
                      <a:pt x="5219" y="2576"/>
                    </a:cubicBezTo>
                    <a:cubicBezTo>
                      <a:pt x="5219" y="2620"/>
                      <a:pt x="5360" y="2784"/>
                      <a:pt x="5375" y="2784"/>
                    </a:cubicBezTo>
                    <a:cubicBezTo>
                      <a:pt x="5442" y="2835"/>
                      <a:pt x="5561" y="2739"/>
                      <a:pt x="5702" y="2739"/>
                    </a:cubicBezTo>
                    <a:cubicBezTo>
                      <a:pt x="5776" y="2732"/>
                      <a:pt x="5724" y="2554"/>
                      <a:pt x="5850" y="2554"/>
                    </a:cubicBezTo>
                    <a:cubicBezTo>
                      <a:pt x="5895" y="2554"/>
                      <a:pt x="5925" y="2613"/>
                      <a:pt x="5969" y="2613"/>
                    </a:cubicBezTo>
                    <a:cubicBezTo>
                      <a:pt x="6244" y="2613"/>
                      <a:pt x="6199" y="2449"/>
                      <a:pt x="6415" y="2449"/>
                    </a:cubicBezTo>
                    <a:cubicBezTo>
                      <a:pt x="6556" y="2449"/>
                      <a:pt x="6585" y="2509"/>
                      <a:pt x="6645" y="2576"/>
                    </a:cubicBezTo>
                    <a:cubicBezTo>
                      <a:pt x="6704" y="2635"/>
                      <a:pt x="6964" y="2605"/>
                      <a:pt x="7008" y="2620"/>
                    </a:cubicBezTo>
                    <a:cubicBezTo>
                      <a:pt x="7083" y="2724"/>
                      <a:pt x="6927" y="2791"/>
                      <a:pt x="6867" y="2813"/>
                    </a:cubicBezTo>
                    <a:cubicBezTo>
                      <a:pt x="6697" y="2872"/>
                      <a:pt x="6482" y="2821"/>
                      <a:pt x="6482" y="3088"/>
                    </a:cubicBezTo>
                    <a:cubicBezTo>
                      <a:pt x="6482" y="3155"/>
                      <a:pt x="6615" y="3311"/>
                      <a:pt x="6615" y="3311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166"/>
              <p:cNvSpPr>
                <a:spLocks/>
              </p:cNvSpPr>
              <p:nvPr/>
            </p:nvSpPr>
            <p:spPr bwMode="auto">
              <a:xfrm>
                <a:off x="5555151" y="3672230"/>
                <a:ext cx="1301467" cy="1029116"/>
              </a:xfrm>
              <a:custGeom>
                <a:avLst/>
                <a:gdLst>
                  <a:gd name="T0" fmla="*/ 777 w 9295"/>
                  <a:gd name="T1" fmla="*/ 163 h 7342"/>
                  <a:gd name="T2" fmla="*/ 736 w 9295"/>
                  <a:gd name="T3" fmla="*/ 205 h 7342"/>
                  <a:gd name="T4" fmla="*/ 752 w 9295"/>
                  <a:gd name="T5" fmla="*/ 272 h 7342"/>
                  <a:gd name="T6" fmla="*/ 735 w 9295"/>
                  <a:gd name="T7" fmla="*/ 277 h 7342"/>
                  <a:gd name="T8" fmla="*/ 708 w 9295"/>
                  <a:gd name="T9" fmla="*/ 290 h 7342"/>
                  <a:gd name="T10" fmla="*/ 685 w 9295"/>
                  <a:gd name="T11" fmla="*/ 308 h 7342"/>
                  <a:gd name="T12" fmla="*/ 682 w 9295"/>
                  <a:gd name="T13" fmla="*/ 341 h 7342"/>
                  <a:gd name="T14" fmla="*/ 696 w 9295"/>
                  <a:gd name="T15" fmla="*/ 374 h 7342"/>
                  <a:gd name="T16" fmla="*/ 628 w 9295"/>
                  <a:gd name="T17" fmla="*/ 449 h 7342"/>
                  <a:gd name="T18" fmla="*/ 590 w 9295"/>
                  <a:gd name="T19" fmla="*/ 537 h 7342"/>
                  <a:gd name="T20" fmla="*/ 497 w 9295"/>
                  <a:gd name="T21" fmla="*/ 565 h 7342"/>
                  <a:gd name="T22" fmla="*/ 415 w 9295"/>
                  <a:gd name="T23" fmla="*/ 592 h 7342"/>
                  <a:gd name="T24" fmla="*/ 369 w 9295"/>
                  <a:gd name="T25" fmla="*/ 604 h 7342"/>
                  <a:gd name="T26" fmla="*/ 347 w 9295"/>
                  <a:gd name="T27" fmla="*/ 615 h 7342"/>
                  <a:gd name="T28" fmla="*/ 306 w 9295"/>
                  <a:gd name="T29" fmla="*/ 601 h 7342"/>
                  <a:gd name="T30" fmla="*/ 291 w 9295"/>
                  <a:gd name="T31" fmla="*/ 562 h 7342"/>
                  <a:gd name="T32" fmla="*/ 303 w 9295"/>
                  <a:gd name="T33" fmla="*/ 521 h 7342"/>
                  <a:gd name="T34" fmla="*/ 259 w 9295"/>
                  <a:gd name="T35" fmla="*/ 467 h 7342"/>
                  <a:gd name="T36" fmla="*/ 256 w 9295"/>
                  <a:gd name="T37" fmla="*/ 438 h 7342"/>
                  <a:gd name="T38" fmla="*/ 244 w 9295"/>
                  <a:gd name="T39" fmla="*/ 406 h 7342"/>
                  <a:gd name="T40" fmla="*/ 220 w 9295"/>
                  <a:gd name="T41" fmla="*/ 406 h 7342"/>
                  <a:gd name="T42" fmla="*/ 178 w 9295"/>
                  <a:gd name="T43" fmla="*/ 414 h 7342"/>
                  <a:gd name="T44" fmla="*/ 147 w 9295"/>
                  <a:gd name="T45" fmla="*/ 429 h 7342"/>
                  <a:gd name="T46" fmla="*/ 123 w 9295"/>
                  <a:gd name="T47" fmla="*/ 426 h 7342"/>
                  <a:gd name="T48" fmla="*/ 83 w 9295"/>
                  <a:gd name="T49" fmla="*/ 399 h 7342"/>
                  <a:gd name="T50" fmla="*/ 38 w 9295"/>
                  <a:gd name="T51" fmla="*/ 386 h 7342"/>
                  <a:gd name="T52" fmla="*/ 9 w 9295"/>
                  <a:gd name="T53" fmla="*/ 360 h 7342"/>
                  <a:gd name="T54" fmla="*/ 44 w 9295"/>
                  <a:gd name="T55" fmla="*/ 314 h 7342"/>
                  <a:gd name="T56" fmla="*/ 98 w 9295"/>
                  <a:gd name="T57" fmla="*/ 299 h 7342"/>
                  <a:gd name="T58" fmla="*/ 128 w 9295"/>
                  <a:gd name="T59" fmla="*/ 290 h 7342"/>
                  <a:gd name="T60" fmla="*/ 188 w 9295"/>
                  <a:gd name="T61" fmla="*/ 287 h 7342"/>
                  <a:gd name="T62" fmla="*/ 248 w 9295"/>
                  <a:gd name="T63" fmla="*/ 277 h 7342"/>
                  <a:gd name="T64" fmla="*/ 263 w 9295"/>
                  <a:gd name="T65" fmla="*/ 230 h 7342"/>
                  <a:gd name="T66" fmla="*/ 270 w 9295"/>
                  <a:gd name="T67" fmla="*/ 187 h 7342"/>
                  <a:gd name="T68" fmla="*/ 264 w 9295"/>
                  <a:gd name="T69" fmla="*/ 127 h 7342"/>
                  <a:gd name="T70" fmla="*/ 291 w 9295"/>
                  <a:gd name="T71" fmla="*/ 84 h 7342"/>
                  <a:gd name="T72" fmla="*/ 294 w 9295"/>
                  <a:gd name="T73" fmla="*/ 57 h 7342"/>
                  <a:gd name="T74" fmla="*/ 319 w 9295"/>
                  <a:gd name="T75" fmla="*/ 50 h 7342"/>
                  <a:gd name="T76" fmla="*/ 326 w 9295"/>
                  <a:gd name="T77" fmla="*/ 28 h 7342"/>
                  <a:gd name="T78" fmla="*/ 356 w 9295"/>
                  <a:gd name="T79" fmla="*/ 42 h 7342"/>
                  <a:gd name="T80" fmla="*/ 373 w 9295"/>
                  <a:gd name="T81" fmla="*/ 59 h 7342"/>
                  <a:gd name="T82" fmla="*/ 426 w 9295"/>
                  <a:gd name="T83" fmla="*/ 28 h 7342"/>
                  <a:gd name="T84" fmla="*/ 481 w 9295"/>
                  <a:gd name="T85" fmla="*/ 0 h 7342"/>
                  <a:gd name="T86" fmla="*/ 509 w 9295"/>
                  <a:gd name="T87" fmla="*/ 28 h 7342"/>
                  <a:gd name="T88" fmla="*/ 560 w 9295"/>
                  <a:gd name="T89" fmla="*/ 31 h 7342"/>
                  <a:gd name="T90" fmla="*/ 630 w 9295"/>
                  <a:gd name="T91" fmla="*/ 73 h 7342"/>
                  <a:gd name="T92" fmla="*/ 689 w 9295"/>
                  <a:gd name="T93" fmla="*/ 118 h 7342"/>
                  <a:gd name="T94" fmla="*/ 773 w 9295"/>
                  <a:gd name="T95" fmla="*/ 137 h 734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9295" h="7342">
                    <a:moveTo>
                      <a:pt x="9117" y="1619"/>
                    </a:moveTo>
                    <a:cubicBezTo>
                      <a:pt x="9243" y="1678"/>
                      <a:pt x="9295" y="1841"/>
                      <a:pt x="9169" y="1923"/>
                    </a:cubicBezTo>
                    <a:cubicBezTo>
                      <a:pt x="9058" y="1983"/>
                      <a:pt x="8902" y="2101"/>
                      <a:pt x="8902" y="2198"/>
                    </a:cubicBezTo>
                    <a:cubicBezTo>
                      <a:pt x="8902" y="2472"/>
                      <a:pt x="8738" y="2346"/>
                      <a:pt x="8686" y="2421"/>
                    </a:cubicBezTo>
                    <a:cubicBezTo>
                      <a:pt x="8486" y="2747"/>
                      <a:pt x="8620" y="2821"/>
                      <a:pt x="8664" y="2888"/>
                    </a:cubicBezTo>
                    <a:cubicBezTo>
                      <a:pt x="8709" y="3029"/>
                      <a:pt x="8798" y="3089"/>
                      <a:pt x="8865" y="3200"/>
                    </a:cubicBezTo>
                    <a:cubicBezTo>
                      <a:pt x="8909" y="3282"/>
                      <a:pt x="8865" y="3267"/>
                      <a:pt x="8850" y="3356"/>
                    </a:cubicBezTo>
                    <a:cubicBezTo>
                      <a:pt x="8835" y="3356"/>
                      <a:pt x="8709" y="3245"/>
                      <a:pt x="8664" y="3267"/>
                    </a:cubicBezTo>
                    <a:cubicBezTo>
                      <a:pt x="8545" y="3311"/>
                      <a:pt x="8464" y="3274"/>
                      <a:pt x="8352" y="3304"/>
                    </a:cubicBezTo>
                    <a:cubicBezTo>
                      <a:pt x="8263" y="3311"/>
                      <a:pt x="8352" y="3363"/>
                      <a:pt x="8352" y="3415"/>
                    </a:cubicBezTo>
                    <a:cubicBezTo>
                      <a:pt x="8352" y="3512"/>
                      <a:pt x="8271" y="3445"/>
                      <a:pt x="8233" y="3445"/>
                    </a:cubicBezTo>
                    <a:cubicBezTo>
                      <a:pt x="8189" y="3445"/>
                      <a:pt x="8026" y="3586"/>
                      <a:pt x="8085" y="3631"/>
                    </a:cubicBezTo>
                    <a:cubicBezTo>
                      <a:pt x="8233" y="3749"/>
                      <a:pt x="8130" y="3824"/>
                      <a:pt x="8219" y="3920"/>
                    </a:cubicBezTo>
                    <a:cubicBezTo>
                      <a:pt x="8345" y="4068"/>
                      <a:pt x="8137" y="4002"/>
                      <a:pt x="8048" y="4016"/>
                    </a:cubicBezTo>
                    <a:cubicBezTo>
                      <a:pt x="7907" y="4002"/>
                      <a:pt x="8137" y="4121"/>
                      <a:pt x="8122" y="4165"/>
                    </a:cubicBezTo>
                    <a:cubicBezTo>
                      <a:pt x="8093" y="4284"/>
                      <a:pt x="8219" y="4269"/>
                      <a:pt x="8204" y="4410"/>
                    </a:cubicBezTo>
                    <a:cubicBezTo>
                      <a:pt x="8196" y="4611"/>
                      <a:pt x="7981" y="4603"/>
                      <a:pt x="7848" y="5034"/>
                    </a:cubicBezTo>
                    <a:cubicBezTo>
                      <a:pt x="7766" y="5353"/>
                      <a:pt x="7476" y="5086"/>
                      <a:pt x="7409" y="5286"/>
                    </a:cubicBezTo>
                    <a:cubicBezTo>
                      <a:pt x="7395" y="5331"/>
                      <a:pt x="7372" y="5628"/>
                      <a:pt x="7372" y="5628"/>
                    </a:cubicBezTo>
                    <a:cubicBezTo>
                      <a:pt x="7276" y="5732"/>
                      <a:pt x="6957" y="6043"/>
                      <a:pt x="6957" y="6325"/>
                    </a:cubicBezTo>
                    <a:cubicBezTo>
                      <a:pt x="6957" y="6541"/>
                      <a:pt x="6452" y="6622"/>
                      <a:pt x="6348" y="6682"/>
                    </a:cubicBezTo>
                    <a:cubicBezTo>
                      <a:pt x="6214" y="6771"/>
                      <a:pt x="6043" y="6660"/>
                      <a:pt x="5865" y="6660"/>
                    </a:cubicBezTo>
                    <a:cubicBezTo>
                      <a:pt x="5732" y="6660"/>
                      <a:pt x="5554" y="6748"/>
                      <a:pt x="5450" y="6786"/>
                    </a:cubicBezTo>
                    <a:cubicBezTo>
                      <a:pt x="5219" y="6845"/>
                      <a:pt x="5101" y="6860"/>
                      <a:pt x="4900" y="6971"/>
                    </a:cubicBezTo>
                    <a:cubicBezTo>
                      <a:pt x="4871" y="6956"/>
                      <a:pt x="4841" y="6956"/>
                      <a:pt x="4804" y="6956"/>
                    </a:cubicBezTo>
                    <a:cubicBezTo>
                      <a:pt x="4588" y="6956"/>
                      <a:pt x="4633" y="7120"/>
                      <a:pt x="4358" y="7120"/>
                    </a:cubicBezTo>
                    <a:cubicBezTo>
                      <a:pt x="4314" y="7120"/>
                      <a:pt x="4284" y="7061"/>
                      <a:pt x="4239" y="7061"/>
                    </a:cubicBezTo>
                    <a:cubicBezTo>
                      <a:pt x="4113" y="7061"/>
                      <a:pt x="4165" y="7239"/>
                      <a:pt x="4091" y="7246"/>
                    </a:cubicBezTo>
                    <a:cubicBezTo>
                      <a:pt x="3950" y="7246"/>
                      <a:pt x="3831" y="7342"/>
                      <a:pt x="3764" y="7291"/>
                    </a:cubicBezTo>
                    <a:cubicBezTo>
                      <a:pt x="3750" y="7291"/>
                      <a:pt x="3608" y="7127"/>
                      <a:pt x="3608" y="7083"/>
                    </a:cubicBezTo>
                    <a:cubicBezTo>
                      <a:pt x="3631" y="6860"/>
                      <a:pt x="3430" y="6956"/>
                      <a:pt x="3430" y="6823"/>
                    </a:cubicBezTo>
                    <a:cubicBezTo>
                      <a:pt x="3430" y="6741"/>
                      <a:pt x="3430" y="6711"/>
                      <a:pt x="3438" y="6622"/>
                    </a:cubicBezTo>
                    <a:cubicBezTo>
                      <a:pt x="3415" y="6615"/>
                      <a:pt x="3445" y="6511"/>
                      <a:pt x="3453" y="6452"/>
                    </a:cubicBezTo>
                    <a:cubicBezTo>
                      <a:pt x="3467" y="6177"/>
                      <a:pt x="3593" y="6251"/>
                      <a:pt x="3579" y="6140"/>
                    </a:cubicBezTo>
                    <a:cubicBezTo>
                      <a:pt x="3534" y="5858"/>
                      <a:pt x="3252" y="6125"/>
                      <a:pt x="3178" y="5939"/>
                    </a:cubicBezTo>
                    <a:cubicBezTo>
                      <a:pt x="3171" y="5917"/>
                      <a:pt x="3052" y="5568"/>
                      <a:pt x="3052" y="5509"/>
                    </a:cubicBezTo>
                    <a:cubicBezTo>
                      <a:pt x="3052" y="5427"/>
                      <a:pt x="3148" y="5383"/>
                      <a:pt x="3148" y="5301"/>
                    </a:cubicBezTo>
                    <a:cubicBezTo>
                      <a:pt x="3148" y="5205"/>
                      <a:pt x="3022" y="5256"/>
                      <a:pt x="3022" y="5160"/>
                    </a:cubicBezTo>
                    <a:cubicBezTo>
                      <a:pt x="3022" y="5138"/>
                      <a:pt x="3044" y="5034"/>
                      <a:pt x="3044" y="4989"/>
                    </a:cubicBezTo>
                    <a:cubicBezTo>
                      <a:pt x="3044" y="4856"/>
                      <a:pt x="2940" y="4885"/>
                      <a:pt x="2881" y="4789"/>
                    </a:cubicBezTo>
                    <a:cubicBezTo>
                      <a:pt x="2829" y="4766"/>
                      <a:pt x="2770" y="4796"/>
                      <a:pt x="2740" y="4819"/>
                    </a:cubicBezTo>
                    <a:cubicBezTo>
                      <a:pt x="2695" y="4766"/>
                      <a:pt x="2666" y="4804"/>
                      <a:pt x="2591" y="4789"/>
                    </a:cubicBezTo>
                    <a:cubicBezTo>
                      <a:pt x="2554" y="4870"/>
                      <a:pt x="2599" y="4922"/>
                      <a:pt x="2428" y="4900"/>
                    </a:cubicBezTo>
                    <a:cubicBezTo>
                      <a:pt x="2309" y="4937"/>
                      <a:pt x="2242" y="4841"/>
                      <a:pt x="2101" y="4878"/>
                    </a:cubicBezTo>
                    <a:cubicBezTo>
                      <a:pt x="1990" y="4900"/>
                      <a:pt x="1945" y="4900"/>
                      <a:pt x="1804" y="4922"/>
                    </a:cubicBezTo>
                    <a:cubicBezTo>
                      <a:pt x="1693" y="4937"/>
                      <a:pt x="1737" y="5056"/>
                      <a:pt x="1737" y="5056"/>
                    </a:cubicBezTo>
                    <a:cubicBezTo>
                      <a:pt x="1678" y="5123"/>
                      <a:pt x="1775" y="5004"/>
                      <a:pt x="1596" y="4967"/>
                    </a:cubicBezTo>
                    <a:cubicBezTo>
                      <a:pt x="1537" y="4945"/>
                      <a:pt x="1508" y="5041"/>
                      <a:pt x="1455" y="5019"/>
                    </a:cubicBezTo>
                    <a:cubicBezTo>
                      <a:pt x="1359" y="4945"/>
                      <a:pt x="1433" y="4826"/>
                      <a:pt x="1374" y="4707"/>
                    </a:cubicBezTo>
                    <a:cubicBezTo>
                      <a:pt x="1277" y="4722"/>
                      <a:pt x="1047" y="4707"/>
                      <a:pt x="980" y="4707"/>
                    </a:cubicBezTo>
                    <a:cubicBezTo>
                      <a:pt x="914" y="4707"/>
                      <a:pt x="743" y="4655"/>
                      <a:pt x="661" y="4648"/>
                    </a:cubicBezTo>
                    <a:cubicBezTo>
                      <a:pt x="557" y="4640"/>
                      <a:pt x="565" y="4625"/>
                      <a:pt x="453" y="4551"/>
                    </a:cubicBezTo>
                    <a:cubicBezTo>
                      <a:pt x="401" y="4507"/>
                      <a:pt x="364" y="4700"/>
                      <a:pt x="15" y="4789"/>
                    </a:cubicBezTo>
                    <a:cubicBezTo>
                      <a:pt x="0" y="4425"/>
                      <a:pt x="104" y="4395"/>
                      <a:pt x="104" y="4247"/>
                    </a:cubicBezTo>
                    <a:cubicBezTo>
                      <a:pt x="253" y="3846"/>
                      <a:pt x="357" y="4106"/>
                      <a:pt x="446" y="3913"/>
                    </a:cubicBezTo>
                    <a:lnTo>
                      <a:pt x="520" y="3705"/>
                    </a:lnTo>
                    <a:cubicBezTo>
                      <a:pt x="646" y="3586"/>
                      <a:pt x="787" y="3601"/>
                      <a:pt x="824" y="3601"/>
                    </a:cubicBezTo>
                    <a:cubicBezTo>
                      <a:pt x="958" y="3601"/>
                      <a:pt x="1084" y="3594"/>
                      <a:pt x="1159" y="3527"/>
                    </a:cubicBezTo>
                    <a:cubicBezTo>
                      <a:pt x="1292" y="3408"/>
                      <a:pt x="1300" y="3594"/>
                      <a:pt x="1359" y="3594"/>
                    </a:cubicBezTo>
                    <a:cubicBezTo>
                      <a:pt x="1448" y="3594"/>
                      <a:pt x="1455" y="3489"/>
                      <a:pt x="1508" y="3423"/>
                    </a:cubicBezTo>
                    <a:cubicBezTo>
                      <a:pt x="1574" y="3333"/>
                      <a:pt x="1753" y="3378"/>
                      <a:pt x="1775" y="3378"/>
                    </a:cubicBezTo>
                    <a:lnTo>
                      <a:pt x="2220" y="3378"/>
                    </a:lnTo>
                    <a:cubicBezTo>
                      <a:pt x="2391" y="3378"/>
                      <a:pt x="2406" y="3482"/>
                      <a:pt x="2569" y="3482"/>
                    </a:cubicBezTo>
                    <a:cubicBezTo>
                      <a:pt x="2814" y="3482"/>
                      <a:pt x="2792" y="3296"/>
                      <a:pt x="2925" y="3267"/>
                    </a:cubicBezTo>
                    <a:cubicBezTo>
                      <a:pt x="3185" y="3207"/>
                      <a:pt x="3052" y="2999"/>
                      <a:pt x="3052" y="2985"/>
                    </a:cubicBezTo>
                    <a:cubicBezTo>
                      <a:pt x="3052" y="2896"/>
                      <a:pt x="3148" y="2821"/>
                      <a:pt x="3104" y="2710"/>
                    </a:cubicBezTo>
                    <a:cubicBezTo>
                      <a:pt x="3081" y="2650"/>
                      <a:pt x="2844" y="2747"/>
                      <a:pt x="2903" y="2569"/>
                    </a:cubicBezTo>
                    <a:cubicBezTo>
                      <a:pt x="3000" y="2450"/>
                      <a:pt x="3163" y="2413"/>
                      <a:pt x="3185" y="2198"/>
                    </a:cubicBezTo>
                    <a:cubicBezTo>
                      <a:pt x="3215" y="1923"/>
                      <a:pt x="3000" y="1923"/>
                      <a:pt x="3000" y="1811"/>
                    </a:cubicBezTo>
                    <a:cubicBezTo>
                      <a:pt x="3000" y="1700"/>
                      <a:pt x="3141" y="1693"/>
                      <a:pt x="3111" y="1500"/>
                    </a:cubicBezTo>
                    <a:cubicBezTo>
                      <a:pt x="3074" y="1255"/>
                      <a:pt x="3423" y="1426"/>
                      <a:pt x="3475" y="1292"/>
                    </a:cubicBezTo>
                    <a:cubicBezTo>
                      <a:pt x="3527" y="1173"/>
                      <a:pt x="3430" y="1077"/>
                      <a:pt x="3430" y="988"/>
                    </a:cubicBezTo>
                    <a:cubicBezTo>
                      <a:pt x="3430" y="906"/>
                      <a:pt x="3504" y="869"/>
                      <a:pt x="3504" y="817"/>
                    </a:cubicBezTo>
                    <a:cubicBezTo>
                      <a:pt x="3504" y="780"/>
                      <a:pt x="3490" y="691"/>
                      <a:pt x="3467" y="668"/>
                    </a:cubicBezTo>
                    <a:cubicBezTo>
                      <a:pt x="3519" y="602"/>
                      <a:pt x="3512" y="587"/>
                      <a:pt x="3601" y="587"/>
                    </a:cubicBezTo>
                    <a:cubicBezTo>
                      <a:pt x="3645" y="587"/>
                      <a:pt x="3735" y="668"/>
                      <a:pt x="3764" y="587"/>
                    </a:cubicBezTo>
                    <a:lnTo>
                      <a:pt x="3764" y="431"/>
                    </a:lnTo>
                    <a:cubicBezTo>
                      <a:pt x="3764" y="379"/>
                      <a:pt x="3824" y="334"/>
                      <a:pt x="3846" y="334"/>
                    </a:cubicBezTo>
                    <a:cubicBezTo>
                      <a:pt x="3957" y="334"/>
                      <a:pt x="3913" y="513"/>
                      <a:pt x="4098" y="513"/>
                    </a:cubicBezTo>
                    <a:cubicBezTo>
                      <a:pt x="4135" y="520"/>
                      <a:pt x="4173" y="505"/>
                      <a:pt x="4195" y="490"/>
                    </a:cubicBezTo>
                    <a:cubicBezTo>
                      <a:pt x="4195" y="550"/>
                      <a:pt x="4254" y="565"/>
                      <a:pt x="4217" y="661"/>
                    </a:cubicBezTo>
                    <a:cubicBezTo>
                      <a:pt x="4217" y="661"/>
                      <a:pt x="4098" y="862"/>
                      <a:pt x="4403" y="691"/>
                    </a:cubicBezTo>
                    <a:cubicBezTo>
                      <a:pt x="4596" y="490"/>
                      <a:pt x="4573" y="557"/>
                      <a:pt x="4811" y="475"/>
                    </a:cubicBezTo>
                    <a:cubicBezTo>
                      <a:pt x="4871" y="453"/>
                      <a:pt x="4885" y="334"/>
                      <a:pt x="5026" y="334"/>
                    </a:cubicBezTo>
                    <a:cubicBezTo>
                      <a:pt x="5130" y="327"/>
                      <a:pt x="5108" y="275"/>
                      <a:pt x="5205" y="201"/>
                    </a:cubicBezTo>
                    <a:cubicBezTo>
                      <a:pt x="5316" y="119"/>
                      <a:pt x="5450" y="0"/>
                      <a:pt x="5672" y="0"/>
                    </a:cubicBezTo>
                    <a:cubicBezTo>
                      <a:pt x="5813" y="0"/>
                      <a:pt x="5828" y="8"/>
                      <a:pt x="5984" y="45"/>
                    </a:cubicBezTo>
                    <a:cubicBezTo>
                      <a:pt x="6155" y="97"/>
                      <a:pt x="5999" y="253"/>
                      <a:pt x="5999" y="334"/>
                    </a:cubicBezTo>
                    <a:cubicBezTo>
                      <a:pt x="5999" y="394"/>
                      <a:pt x="6155" y="431"/>
                      <a:pt x="6184" y="446"/>
                    </a:cubicBezTo>
                    <a:cubicBezTo>
                      <a:pt x="6385" y="535"/>
                      <a:pt x="6400" y="334"/>
                      <a:pt x="6600" y="371"/>
                    </a:cubicBezTo>
                    <a:cubicBezTo>
                      <a:pt x="6801" y="394"/>
                      <a:pt x="6793" y="446"/>
                      <a:pt x="6897" y="527"/>
                    </a:cubicBezTo>
                    <a:cubicBezTo>
                      <a:pt x="7031" y="631"/>
                      <a:pt x="7276" y="758"/>
                      <a:pt x="7432" y="862"/>
                    </a:cubicBezTo>
                    <a:cubicBezTo>
                      <a:pt x="7848" y="832"/>
                      <a:pt x="7974" y="1084"/>
                      <a:pt x="7974" y="1084"/>
                    </a:cubicBezTo>
                    <a:cubicBezTo>
                      <a:pt x="8115" y="1195"/>
                      <a:pt x="7989" y="1337"/>
                      <a:pt x="8130" y="1396"/>
                    </a:cubicBezTo>
                    <a:cubicBezTo>
                      <a:pt x="8271" y="1463"/>
                      <a:pt x="8352" y="1232"/>
                      <a:pt x="8634" y="1433"/>
                    </a:cubicBezTo>
                    <a:cubicBezTo>
                      <a:pt x="8731" y="1500"/>
                      <a:pt x="8835" y="1388"/>
                      <a:pt x="9117" y="1619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167"/>
              <p:cNvSpPr>
                <a:spLocks/>
              </p:cNvSpPr>
              <p:nvPr/>
            </p:nvSpPr>
            <p:spPr bwMode="auto">
              <a:xfrm>
                <a:off x="6098530" y="3011481"/>
                <a:ext cx="1070242" cy="1176133"/>
              </a:xfrm>
              <a:custGeom>
                <a:avLst/>
                <a:gdLst>
                  <a:gd name="T0" fmla="*/ 422 w 7647"/>
                  <a:gd name="T1" fmla="*/ 672 h 8396"/>
                  <a:gd name="T2" fmla="*/ 407 w 7647"/>
                  <a:gd name="T3" fmla="*/ 606 h 8396"/>
                  <a:gd name="T4" fmla="*/ 448 w 7647"/>
                  <a:gd name="T5" fmla="*/ 563 h 8396"/>
                  <a:gd name="T6" fmla="*/ 403 w 7647"/>
                  <a:gd name="T7" fmla="*/ 522 h 8396"/>
                  <a:gd name="T8" fmla="*/ 347 w 7647"/>
                  <a:gd name="T9" fmla="*/ 492 h 8396"/>
                  <a:gd name="T10" fmla="*/ 255 w 7647"/>
                  <a:gd name="T11" fmla="*/ 445 h 8396"/>
                  <a:gd name="T12" fmla="*/ 195 w 7647"/>
                  <a:gd name="T13" fmla="*/ 438 h 8396"/>
                  <a:gd name="T14" fmla="*/ 178 w 7647"/>
                  <a:gd name="T15" fmla="*/ 404 h 8396"/>
                  <a:gd name="T16" fmla="*/ 112 w 7647"/>
                  <a:gd name="T17" fmla="*/ 417 h 8396"/>
                  <a:gd name="T18" fmla="*/ 79 w 7647"/>
                  <a:gd name="T19" fmla="*/ 441 h 8396"/>
                  <a:gd name="T20" fmla="*/ 28 w 7647"/>
                  <a:gd name="T21" fmla="*/ 456 h 8396"/>
                  <a:gd name="T22" fmla="*/ 37 w 7647"/>
                  <a:gd name="T23" fmla="*/ 430 h 8396"/>
                  <a:gd name="T24" fmla="*/ 13 w 7647"/>
                  <a:gd name="T25" fmla="*/ 361 h 8396"/>
                  <a:gd name="T26" fmla="*/ 20 w 7647"/>
                  <a:gd name="T27" fmla="*/ 308 h 8396"/>
                  <a:gd name="T28" fmla="*/ 18 w 7647"/>
                  <a:gd name="T29" fmla="*/ 286 h 8396"/>
                  <a:gd name="T30" fmla="*/ 12 w 7647"/>
                  <a:gd name="T31" fmla="*/ 245 h 8396"/>
                  <a:gd name="T32" fmla="*/ 18 w 7647"/>
                  <a:gd name="T33" fmla="*/ 214 h 8396"/>
                  <a:gd name="T34" fmla="*/ 0 w 7647"/>
                  <a:gd name="T35" fmla="*/ 181 h 8396"/>
                  <a:gd name="T36" fmla="*/ 21 w 7647"/>
                  <a:gd name="T37" fmla="*/ 143 h 8396"/>
                  <a:gd name="T38" fmla="*/ 69 w 7647"/>
                  <a:gd name="T39" fmla="*/ 111 h 8396"/>
                  <a:gd name="T40" fmla="*/ 116 w 7647"/>
                  <a:gd name="T41" fmla="*/ 151 h 8396"/>
                  <a:gd name="T42" fmla="*/ 206 w 7647"/>
                  <a:gd name="T43" fmla="*/ 96 h 8396"/>
                  <a:gd name="T44" fmla="*/ 198 w 7647"/>
                  <a:gd name="T45" fmla="*/ 53 h 8396"/>
                  <a:gd name="T46" fmla="*/ 224 w 7647"/>
                  <a:gd name="T47" fmla="*/ 45 h 8396"/>
                  <a:gd name="T48" fmla="*/ 255 w 7647"/>
                  <a:gd name="T49" fmla="*/ 52 h 8396"/>
                  <a:gd name="T50" fmla="*/ 326 w 7647"/>
                  <a:gd name="T51" fmla="*/ 43 h 8396"/>
                  <a:gd name="T52" fmla="*/ 368 w 7647"/>
                  <a:gd name="T53" fmla="*/ 19 h 8396"/>
                  <a:gd name="T54" fmla="*/ 417 w 7647"/>
                  <a:gd name="T55" fmla="*/ 40 h 8396"/>
                  <a:gd name="T56" fmla="*/ 430 w 7647"/>
                  <a:gd name="T57" fmla="*/ 64 h 8396"/>
                  <a:gd name="T58" fmla="*/ 465 w 7647"/>
                  <a:gd name="T59" fmla="*/ 39 h 8396"/>
                  <a:gd name="T60" fmla="*/ 518 w 7647"/>
                  <a:gd name="T61" fmla="*/ 2 h 8396"/>
                  <a:gd name="T62" fmla="*/ 570 w 7647"/>
                  <a:gd name="T63" fmla="*/ 35 h 8396"/>
                  <a:gd name="T64" fmla="*/ 584 w 7647"/>
                  <a:gd name="T65" fmla="*/ 40 h 8396"/>
                  <a:gd name="T66" fmla="*/ 610 w 7647"/>
                  <a:gd name="T67" fmla="*/ 76 h 8396"/>
                  <a:gd name="T68" fmla="*/ 627 w 7647"/>
                  <a:gd name="T69" fmla="*/ 138 h 8396"/>
                  <a:gd name="T70" fmla="*/ 592 w 7647"/>
                  <a:gd name="T71" fmla="*/ 167 h 8396"/>
                  <a:gd name="T72" fmla="*/ 610 w 7647"/>
                  <a:gd name="T73" fmla="*/ 198 h 8396"/>
                  <a:gd name="T74" fmla="*/ 614 w 7647"/>
                  <a:gd name="T75" fmla="*/ 218 h 8396"/>
                  <a:gd name="T76" fmla="*/ 648 w 7647"/>
                  <a:gd name="T77" fmla="*/ 229 h 8396"/>
                  <a:gd name="T78" fmla="*/ 561 w 7647"/>
                  <a:gd name="T79" fmla="*/ 334 h 8396"/>
                  <a:gd name="T80" fmla="*/ 547 w 7647"/>
                  <a:gd name="T81" fmla="*/ 310 h 8396"/>
                  <a:gd name="T82" fmla="*/ 535 w 7647"/>
                  <a:gd name="T83" fmla="*/ 346 h 8396"/>
                  <a:gd name="T84" fmla="*/ 525 w 7647"/>
                  <a:gd name="T85" fmla="*/ 385 h 8396"/>
                  <a:gd name="T86" fmla="*/ 524 w 7647"/>
                  <a:gd name="T87" fmla="*/ 422 h 8396"/>
                  <a:gd name="T88" fmla="*/ 522 w 7647"/>
                  <a:gd name="T89" fmla="*/ 512 h 8396"/>
                  <a:gd name="T90" fmla="*/ 492 w 7647"/>
                  <a:gd name="T91" fmla="*/ 647 h 8396"/>
                  <a:gd name="T92" fmla="*/ 476 w 7647"/>
                  <a:gd name="T93" fmla="*/ 691 h 8396"/>
                  <a:gd name="T94" fmla="*/ 422 w 7647"/>
                  <a:gd name="T95" fmla="*/ 684 h 839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647" h="8396">
                    <a:moveTo>
                      <a:pt x="4981" y="8062"/>
                    </a:moveTo>
                    <a:cubicBezTo>
                      <a:pt x="4996" y="7973"/>
                      <a:pt x="5026" y="8003"/>
                      <a:pt x="4981" y="7921"/>
                    </a:cubicBezTo>
                    <a:cubicBezTo>
                      <a:pt x="4915" y="7810"/>
                      <a:pt x="4826" y="7750"/>
                      <a:pt x="4781" y="7609"/>
                    </a:cubicBezTo>
                    <a:cubicBezTo>
                      <a:pt x="4736" y="7542"/>
                      <a:pt x="4603" y="7468"/>
                      <a:pt x="4803" y="7142"/>
                    </a:cubicBezTo>
                    <a:cubicBezTo>
                      <a:pt x="4855" y="7067"/>
                      <a:pt x="5019" y="7193"/>
                      <a:pt x="5019" y="6919"/>
                    </a:cubicBezTo>
                    <a:cubicBezTo>
                      <a:pt x="5019" y="6822"/>
                      <a:pt x="5175" y="6703"/>
                      <a:pt x="5286" y="6644"/>
                    </a:cubicBezTo>
                    <a:cubicBezTo>
                      <a:pt x="5412" y="6562"/>
                      <a:pt x="5360" y="6399"/>
                      <a:pt x="5234" y="6340"/>
                    </a:cubicBezTo>
                    <a:cubicBezTo>
                      <a:pt x="4952" y="6110"/>
                      <a:pt x="4848" y="6221"/>
                      <a:pt x="4751" y="6154"/>
                    </a:cubicBezTo>
                    <a:cubicBezTo>
                      <a:pt x="4469" y="5954"/>
                      <a:pt x="4388" y="6184"/>
                      <a:pt x="4247" y="6117"/>
                    </a:cubicBezTo>
                    <a:cubicBezTo>
                      <a:pt x="4106" y="6057"/>
                      <a:pt x="4232" y="5916"/>
                      <a:pt x="4091" y="5805"/>
                    </a:cubicBezTo>
                    <a:cubicBezTo>
                      <a:pt x="4091" y="5805"/>
                      <a:pt x="3964" y="5553"/>
                      <a:pt x="3549" y="5583"/>
                    </a:cubicBezTo>
                    <a:cubicBezTo>
                      <a:pt x="3393" y="5478"/>
                      <a:pt x="3148" y="5352"/>
                      <a:pt x="3014" y="5248"/>
                    </a:cubicBezTo>
                    <a:cubicBezTo>
                      <a:pt x="2910" y="5166"/>
                      <a:pt x="2918" y="5115"/>
                      <a:pt x="2717" y="5092"/>
                    </a:cubicBezTo>
                    <a:cubicBezTo>
                      <a:pt x="2517" y="5055"/>
                      <a:pt x="2502" y="5256"/>
                      <a:pt x="2301" y="5166"/>
                    </a:cubicBezTo>
                    <a:cubicBezTo>
                      <a:pt x="2272" y="5152"/>
                      <a:pt x="2116" y="5115"/>
                      <a:pt x="2116" y="5055"/>
                    </a:cubicBezTo>
                    <a:cubicBezTo>
                      <a:pt x="2116" y="4974"/>
                      <a:pt x="2272" y="4818"/>
                      <a:pt x="2101" y="4766"/>
                    </a:cubicBezTo>
                    <a:cubicBezTo>
                      <a:pt x="1945" y="4729"/>
                      <a:pt x="1930" y="4721"/>
                      <a:pt x="1789" y="4721"/>
                    </a:cubicBezTo>
                    <a:cubicBezTo>
                      <a:pt x="1566" y="4721"/>
                      <a:pt x="1433" y="4840"/>
                      <a:pt x="1321" y="4922"/>
                    </a:cubicBezTo>
                    <a:cubicBezTo>
                      <a:pt x="1225" y="4996"/>
                      <a:pt x="1247" y="5048"/>
                      <a:pt x="1143" y="5055"/>
                    </a:cubicBezTo>
                    <a:cubicBezTo>
                      <a:pt x="1002" y="5055"/>
                      <a:pt x="988" y="5174"/>
                      <a:pt x="928" y="5196"/>
                    </a:cubicBezTo>
                    <a:cubicBezTo>
                      <a:pt x="691" y="5278"/>
                      <a:pt x="713" y="5211"/>
                      <a:pt x="520" y="5412"/>
                    </a:cubicBezTo>
                    <a:cubicBezTo>
                      <a:pt x="215" y="5583"/>
                      <a:pt x="334" y="5382"/>
                      <a:pt x="334" y="5382"/>
                    </a:cubicBezTo>
                    <a:cubicBezTo>
                      <a:pt x="371" y="5285"/>
                      <a:pt x="312" y="5271"/>
                      <a:pt x="312" y="5211"/>
                    </a:cubicBezTo>
                    <a:cubicBezTo>
                      <a:pt x="379" y="5174"/>
                      <a:pt x="431" y="5107"/>
                      <a:pt x="431" y="5070"/>
                    </a:cubicBezTo>
                    <a:cubicBezTo>
                      <a:pt x="445" y="5026"/>
                      <a:pt x="416" y="4907"/>
                      <a:pt x="416" y="4803"/>
                    </a:cubicBezTo>
                    <a:cubicBezTo>
                      <a:pt x="416" y="4565"/>
                      <a:pt x="171" y="4766"/>
                      <a:pt x="156" y="4254"/>
                    </a:cubicBezTo>
                    <a:cubicBezTo>
                      <a:pt x="141" y="3919"/>
                      <a:pt x="408" y="3890"/>
                      <a:pt x="297" y="3786"/>
                    </a:cubicBezTo>
                    <a:cubicBezTo>
                      <a:pt x="238" y="3756"/>
                      <a:pt x="238" y="3719"/>
                      <a:pt x="238" y="3637"/>
                    </a:cubicBezTo>
                    <a:cubicBezTo>
                      <a:pt x="238" y="3585"/>
                      <a:pt x="334" y="3585"/>
                      <a:pt x="334" y="3548"/>
                    </a:cubicBezTo>
                    <a:cubicBezTo>
                      <a:pt x="334" y="3467"/>
                      <a:pt x="215" y="3452"/>
                      <a:pt x="215" y="3370"/>
                    </a:cubicBezTo>
                    <a:cubicBezTo>
                      <a:pt x="215" y="3288"/>
                      <a:pt x="297" y="3311"/>
                      <a:pt x="297" y="3214"/>
                    </a:cubicBezTo>
                    <a:cubicBezTo>
                      <a:pt x="297" y="3110"/>
                      <a:pt x="126" y="3192"/>
                      <a:pt x="141" y="2888"/>
                    </a:cubicBezTo>
                    <a:cubicBezTo>
                      <a:pt x="149" y="2739"/>
                      <a:pt x="267" y="2821"/>
                      <a:pt x="312" y="2673"/>
                    </a:cubicBezTo>
                    <a:cubicBezTo>
                      <a:pt x="393" y="2568"/>
                      <a:pt x="201" y="2583"/>
                      <a:pt x="215" y="2524"/>
                    </a:cubicBezTo>
                    <a:cubicBezTo>
                      <a:pt x="208" y="2479"/>
                      <a:pt x="386" y="2494"/>
                      <a:pt x="356" y="2413"/>
                    </a:cubicBezTo>
                    <a:cubicBezTo>
                      <a:pt x="305" y="2212"/>
                      <a:pt x="0" y="2368"/>
                      <a:pt x="0" y="2138"/>
                    </a:cubicBezTo>
                    <a:cubicBezTo>
                      <a:pt x="0" y="1960"/>
                      <a:pt x="97" y="1908"/>
                      <a:pt x="193" y="1834"/>
                    </a:cubicBezTo>
                    <a:cubicBezTo>
                      <a:pt x="275" y="1759"/>
                      <a:pt x="238" y="1722"/>
                      <a:pt x="245" y="1685"/>
                    </a:cubicBezTo>
                    <a:cubicBezTo>
                      <a:pt x="267" y="1596"/>
                      <a:pt x="586" y="1492"/>
                      <a:pt x="691" y="1299"/>
                    </a:cubicBezTo>
                    <a:cubicBezTo>
                      <a:pt x="728" y="1299"/>
                      <a:pt x="765" y="1299"/>
                      <a:pt x="817" y="1314"/>
                    </a:cubicBezTo>
                    <a:cubicBezTo>
                      <a:pt x="988" y="1388"/>
                      <a:pt x="861" y="1544"/>
                      <a:pt x="995" y="1633"/>
                    </a:cubicBezTo>
                    <a:cubicBezTo>
                      <a:pt x="1121" y="1782"/>
                      <a:pt x="1240" y="1782"/>
                      <a:pt x="1374" y="1782"/>
                    </a:cubicBezTo>
                    <a:cubicBezTo>
                      <a:pt x="1648" y="1782"/>
                      <a:pt x="1566" y="1537"/>
                      <a:pt x="1923" y="1603"/>
                    </a:cubicBezTo>
                    <a:cubicBezTo>
                      <a:pt x="2108" y="1633"/>
                      <a:pt x="2331" y="1329"/>
                      <a:pt x="2428" y="1136"/>
                    </a:cubicBezTo>
                    <a:cubicBezTo>
                      <a:pt x="2442" y="1084"/>
                      <a:pt x="2413" y="846"/>
                      <a:pt x="2413" y="779"/>
                    </a:cubicBezTo>
                    <a:cubicBezTo>
                      <a:pt x="2368" y="742"/>
                      <a:pt x="2331" y="668"/>
                      <a:pt x="2331" y="623"/>
                    </a:cubicBezTo>
                    <a:cubicBezTo>
                      <a:pt x="2331" y="586"/>
                      <a:pt x="2435" y="586"/>
                      <a:pt x="2487" y="586"/>
                    </a:cubicBezTo>
                    <a:cubicBezTo>
                      <a:pt x="2584" y="586"/>
                      <a:pt x="2569" y="549"/>
                      <a:pt x="2643" y="527"/>
                    </a:cubicBezTo>
                    <a:cubicBezTo>
                      <a:pt x="2680" y="497"/>
                      <a:pt x="2762" y="609"/>
                      <a:pt x="2829" y="609"/>
                    </a:cubicBezTo>
                    <a:cubicBezTo>
                      <a:pt x="2895" y="609"/>
                      <a:pt x="2977" y="564"/>
                      <a:pt x="3014" y="609"/>
                    </a:cubicBezTo>
                    <a:cubicBezTo>
                      <a:pt x="3103" y="698"/>
                      <a:pt x="3111" y="727"/>
                      <a:pt x="3274" y="727"/>
                    </a:cubicBezTo>
                    <a:cubicBezTo>
                      <a:pt x="3512" y="727"/>
                      <a:pt x="3660" y="512"/>
                      <a:pt x="3853" y="512"/>
                    </a:cubicBezTo>
                    <a:cubicBezTo>
                      <a:pt x="3950" y="512"/>
                      <a:pt x="4091" y="505"/>
                      <a:pt x="4120" y="364"/>
                    </a:cubicBezTo>
                    <a:cubicBezTo>
                      <a:pt x="4135" y="267"/>
                      <a:pt x="4321" y="282"/>
                      <a:pt x="4343" y="223"/>
                    </a:cubicBezTo>
                    <a:cubicBezTo>
                      <a:pt x="4380" y="118"/>
                      <a:pt x="4447" y="74"/>
                      <a:pt x="4506" y="37"/>
                    </a:cubicBezTo>
                    <a:cubicBezTo>
                      <a:pt x="5093" y="193"/>
                      <a:pt x="4670" y="408"/>
                      <a:pt x="4922" y="475"/>
                    </a:cubicBezTo>
                    <a:cubicBezTo>
                      <a:pt x="4989" y="490"/>
                      <a:pt x="4989" y="683"/>
                      <a:pt x="4989" y="705"/>
                    </a:cubicBezTo>
                    <a:cubicBezTo>
                      <a:pt x="4989" y="720"/>
                      <a:pt x="5019" y="735"/>
                      <a:pt x="5078" y="757"/>
                    </a:cubicBezTo>
                    <a:cubicBezTo>
                      <a:pt x="5115" y="765"/>
                      <a:pt x="5130" y="653"/>
                      <a:pt x="5212" y="675"/>
                    </a:cubicBezTo>
                    <a:cubicBezTo>
                      <a:pt x="5397" y="705"/>
                      <a:pt x="5204" y="423"/>
                      <a:pt x="5486" y="460"/>
                    </a:cubicBezTo>
                    <a:cubicBezTo>
                      <a:pt x="5716" y="490"/>
                      <a:pt x="5650" y="215"/>
                      <a:pt x="5783" y="237"/>
                    </a:cubicBezTo>
                    <a:cubicBezTo>
                      <a:pt x="5909" y="252"/>
                      <a:pt x="5716" y="74"/>
                      <a:pt x="6117" y="22"/>
                    </a:cubicBezTo>
                    <a:cubicBezTo>
                      <a:pt x="6258" y="0"/>
                      <a:pt x="6199" y="252"/>
                      <a:pt x="6630" y="274"/>
                    </a:cubicBezTo>
                    <a:cubicBezTo>
                      <a:pt x="6704" y="274"/>
                      <a:pt x="6644" y="408"/>
                      <a:pt x="6726" y="408"/>
                    </a:cubicBezTo>
                    <a:cubicBezTo>
                      <a:pt x="6800" y="408"/>
                      <a:pt x="6785" y="274"/>
                      <a:pt x="6860" y="334"/>
                    </a:cubicBezTo>
                    <a:lnTo>
                      <a:pt x="6897" y="467"/>
                    </a:lnTo>
                    <a:cubicBezTo>
                      <a:pt x="7075" y="490"/>
                      <a:pt x="7023" y="549"/>
                      <a:pt x="7023" y="683"/>
                    </a:cubicBezTo>
                    <a:cubicBezTo>
                      <a:pt x="7023" y="787"/>
                      <a:pt x="7164" y="846"/>
                      <a:pt x="7194" y="891"/>
                    </a:cubicBezTo>
                    <a:cubicBezTo>
                      <a:pt x="7268" y="995"/>
                      <a:pt x="7216" y="1039"/>
                      <a:pt x="7238" y="1173"/>
                    </a:cubicBezTo>
                    <a:cubicBezTo>
                      <a:pt x="7261" y="1277"/>
                      <a:pt x="7469" y="1447"/>
                      <a:pt x="7394" y="1633"/>
                    </a:cubicBezTo>
                    <a:cubicBezTo>
                      <a:pt x="7342" y="1737"/>
                      <a:pt x="7469" y="2093"/>
                      <a:pt x="7216" y="1989"/>
                    </a:cubicBezTo>
                    <a:cubicBezTo>
                      <a:pt x="7090" y="1937"/>
                      <a:pt x="7097" y="1908"/>
                      <a:pt x="6986" y="1975"/>
                    </a:cubicBezTo>
                    <a:cubicBezTo>
                      <a:pt x="6949" y="2049"/>
                      <a:pt x="7038" y="2175"/>
                      <a:pt x="7038" y="2175"/>
                    </a:cubicBezTo>
                    <a:cubicBezTo>
                      <a:pt x="7097" y="2279"/>
                      <a:pt x="7105" y="2294"/>
                      <a:pt x="7194" y="2331"/>
                    </a:cubicBezTo>
                    <a:cubicBezTo>
                      <a:pt x="7231" y="2427"/>
                      <a:pt x="7097" y="2413"/>
                      <a:pt x="7149" y="2546"/>
                    </a:cubicBezTo>
                    <a:cubicBezTo>
                      <a:pt x="7157" y="2576"/>
                      <a:pt x="7224" y="2568"/>
                      <a:pt x="7246" y="2568"/>
                    </a:cubicBezTo>
                    <a:cubicBezTo>
                      <a:pt x="7320" y="2583"/>
                      <a:pt x="7298" y="2673"/>
                      <a:pt x="7357" y="2702"/>
                    </a:cubicBezTo>
                    <a:cubicBezTo>
                      <a:pt x="7431" y="2739"/>
                      <a:pt x="7647" y="2695"/>
                      <a:pt x="7647" y="2695"/>
                    </a:cubicBezTo>
                    <a:cubicBezTo>
                      <a:pt x="7543" y="2962"/>
                      <a:pt x="7409" y="3192"/>
                      <a:pt x="7238" y="3393"/>
                    </a:cubicBezTo>
                    <a:cubicBezTo>
                      <a:pt x="7060" y="3608"/>
                      <a:pt x="6756" y="4142"/>
                      <a:pt x="6622" y="3942"/>
                    </a:cubicBezTo>
                    <a:cubicBezTo>
                      <a:pt x="6541" y="3823"/>
                      <a:pt x="6644" y="3778"/>
                      <a:pt x="6555" y="3667"/>
                    </a:cubicBezTo>
                    <a:cubicBezTo>
                      <a:pt x="6541" y="3645"/>
                      <a:pt x="6503" y="3667"/>
                      <a:pt x="6452" y="3652"/>
                    </a:cubicBezTo>
                    <a:cubicBezTo>
                      <a:pt x="6407" y="3645"/>
                      <a:pt x="6251" y="3749"/>
                      <a:pt x="6481" y="3890"/>
                    </a:cubicBezTo>
                    <a:cubicBezTo>
                      <a:pt x="6607" y="3964"/>
                      <a:pt x="6333" y="4150"/>
                      <a:pt x="6310" y="4083"/>
                    </a:cubicBezTo>
                    <a:cubicBezTo>
                      <a:pt x="6310" y="4068"/>
                      <a:pt x="6236" y="4179"/>
                      <a:pt x="6251" y="4246"/>
                    </a:cubicBezTo>
                    <a:cubicBezTo>
                      <a:pt x="6333" y="4476"/>
                      <a:pt x="6281" y="4588"/>
                      <a:pt x="6199" y="4543"/>
                    </a:cubicBezTo>
                    <a:cubicBezTo>
                      <a:pt x="6184" y="4536"/>
                      <a:pt x="6140" y="4662"/>
                      <a:pt x="6214" y="4714"/>
                    </a:cubicBezTo>
                    <a:cubicBezTo>
                      <a:pt x="6310" y="4773"/>
                      <a:pt x="6221" y="4877"/>
                      <a:pt x="6184" y="4974"/>
                    </a:cubicBezTo>
                    <a:cubicBezTo>
                      <a:pt x="6117" y="5152"/>
                      <a:pt x="6050" y="5308"/>
                      <a:pt x="6103" y="5805"/>
                    </a:cubicBezTo>
                    <a:cubicBezTo>
                      <a:pt x="6117" y="5939"/>
                      <a:pt x="6162" y="5939"/>
                      <a:pt x="6162" y="6043"/>
                    </a:cubicBezTo>
                    <a:cubicBezTo>
                      <a:pt x="6162" y="6132"/>
                      <a:pt x="6140" y="6251"/>
                      <a:pt x="6184" y="6310"/>
                    </a:cubicBezTo>
                    <a:cubicBezTo>
                      <a:pt x="6088" y="6807"/>
                      <a:pt x="5872" y="7112"/>
                      <a:pt x="5806" y="7624"/>
                    </a:cubicBezTo>
                    <a:cubicBezTo>
                      <a:pt x="5783" y="7817"/>
                      <a:pt x="5880" y="7869"/>
                      <a:pt x="5828" y="7973"/>
                    </a:cubicBezTo>
                    <a:cubicBezTo>
                      <a:pt x="5798" y="8040"/>
                      <a:pt x="5664" y="8107"/>
                      <a:pt x="5612" y="8144"/>
                    </a:cubicBezTo>
                    <a:cubicBezTo>
                      <a:pt x="5546" y="8196"/>
                      <a:pt x="5464" y="8270"/>
                      <a:pt x="5412" y="8396"/>
                    </a:cubicBezTo>
                    <a:cubicBezTo>
                      <a:pt x="5219" y="8322"/>
                      <a:pt x="5160" y="8181"/>
                      <a:pt x="4981" y="8062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172"/>
              <p:cNvSpPr>
                <a:spLocks/>
              </p:cNvSpPr>
              <p:nvPr/>
            </p:nvSpPr>
            <p:spPr bwMode="auto">
              <a:xfrm>
                <a:off x="6729444" y="2861161"/>
                <a:ext cx="769649" cy="275863"/>
              </a:xfrm>
              <a:custGeom>
                <a:avLst/>
                <a:gdLst>
                  <a:gd name="T0" fmla="*/ 465 w 5494"/>
                  <a:gd name="T1" fmla="*/ 43 h 1975"/>
                  <a:gd name="T2" fmla="*/ 419 w 5494"/>
                  <a:gd name="T3" fmla="*/ 33 h 1975"/>
                  <a:gd name="T4" fmla="*/ 412 w 5494"/>
                  <a:gd name="T5" fmla="*/ 46 h 1975"/>
                  <a:gd name="T6" fmla="*/ 392 w 5494"/>
                  <a:gd name="T7" fmla="*/ 53 h 1975"/>
                  <a:gd name="T8" fmla="*/ 356 w 5494"/>
                  <a:gd name="T9" fmla="*/ 53 h 1975"/>
                  <a:gd name="T10" fmla="*/ 335 w 5494"/>
                  <a:gd name="T11" fmla="*/ 68 h 1975"/>
                  <a:gd name="T12" fmla="*/ 312 w 5494"/>
                  <a:gd name="T13" fmla="*/ 82 h 1975"/>
                  <a:gd name="T14" fmla="*/ 298 w 5494"/>
                  <a:gd name="T15" fmla="*/ 64 h 1975"/>
                  <a:gd name="T16" fmla="*/ 290 w 5494"/>
                  <a:gd name="T17" fmla="*/ 58 h 1975"/>
                  <a:gd name="T18" fmla="*/ 309 w 5494"/>
                  <a:gd name="T19" fmla="*/ 23 h 1975"/>
                  <a:gd name="T20" fmla="*/ 283 w 5494"/>
                  <a:gd name="T21" fmla="*/ 13 h 1975"/>
                  <a:gd name="T22" fmla="*/ 240 w 5494"/>
                  <a:gd name="T23" fmla="*/ 42 h 1975"/>
                  <a:gd name="T24" fmla="*/ 222 w 5494"/>
                  <a:gd name="T25" fmla="*/ 46 h 1975"/>
                  <a:gd name="T26" fmla="*/ 210 w 5494"/>
                  <a:gd name="T27" fmla="*/ 39 h 1975"/>
                  <a:gd name="T28" fmla="*/ 185 w 5494"/>
                  <a:gd name="T29" fmla="*/ 31 h 1975"/>
                  <a:gd name="T30" fmla="*/ 160 w 5494"/>
                  <a:gd name="T31" fmla="*/ 40 h 1975"/>
                  <a:gd name="T32" fmla="*/ 142 w 5494"/>
                  <a:gd name="T33" fmla="*/ 21 h 1975"/>
                  <a:gd name="T34" fmla="*/ 98 w 5494"/>
                  <a:gd name="T35" fmla="*/ 6 h 1975"/>
                  <a:gd name="T36" fmla="*/ 79 w 5494"/>
                  <a:gd name="T37" fmla="*/ 5 h 1975"/>
                  <a:gd name="T38" fmla="*/ 53 w 5494"/>
                  <a:gd name="T39" fmla="*/ 3 h 1975"/>
                  <a:gd name="T40" fmla="*/ 47 w 5494"/>
                  <a:gd name="T41" fmla="*/ 22 h 1975"/>
                  <a:gd name="T42" fmla="*/ 55 w 5494"/>
                  <a:gd name="T43" fmla="*/ 55 h 1975"/>
                  <a:gd name="T44" fmla="*/ 15 w 5494"/>
                  <a:gd name="T45" fmla="*/ 82 h 1975"/>
                  <a:gd name="T46" fmla="*/ 0 w 5494"/>
                  <a:gd name="T47" fmla="*/ 94 h 1975"/>
                  <a:gd name="T48" fmla="*/ 35 w 5494"/>
                  <a:gd name="T49" fmla="*/ 131 h 1975"/>
                  <a:gd name="T50" fmla="*/ 41 w 5494"/>
                  <a:gd name="T51" fmla="*/ 151 h 1975"/>
                  <a:gd name="T52" fmla="*/ 49 w 5494"/>
                  <a:gd name="T53" fmla="*/ 155 h 1975"/>
                  <a:gd name="T54" fmla="*/ 60 w 5494"/>
                  <a:gd name="T55" fmla="*/ 148 h 1975"/>
                  <a:gd name="T56" fmla="*/ 83 w 5494"/>
                  <a:gd name="T57" fmla="*/ 130 h 1975"/>
                  <a:gd name="T58" fmla="*/ 108 w 5494"/>
                  <a:gd name="T59" fmla="*/ 111 h 1975"/>
                  <a:gd name="T60" fmla="*/ 137 w 5494"/>
                  <a:gd name="T61" fmla="*/ 93 h 1975"/>
                  <a:gd name="T62" fmla="*/ 180 w 5494"/>
                  <a:gd name="T63" fmla="*/ 114 h 1975"/>
                  <a:gd name="T64" fmla="*/ 188 w 5494"/>
                  <a:gd name="T65" fmla="*/ 126 h 1975"/>
                  <a:gd name="T66" fmla="*/ 200 w 5494"/>
                  <a:gd name="T67" fmla="*/ 119 h 1975"/>
                  <a:gd name="T68" fmla="*/ 203 w 5494"/>
                  <a:gd name="T69" fmla="*/ 131 h 1975"/>
                  <a:gd name="T70" fmla="*/ 213 w 5494"/>
                  <a:gd name="T71" fmla="*/ 149 h 1975"/>
                  <a:gd name="T72" fmla="*/ 219 w 5494"/>
                  <a:gd name="T73" fmla="*/ 149 h 1975"/>
                  <a:gd name="T74" fmla="*/ 245 w 5494"/>
                  <a:gd name="T75" fmla="*/ 134 h 1975"/>
                  <a:gd name="T76" fmla="*/ 261 w 5494"/>
                  <a:gd name="T77" fmla="*/ 136 h 1975"/>
                  <a:gd name="T78" fmla="*/ 308 w 5494"/>
                  <a:gd name="T79" fmla="*/ 161 h 1975"/>
                  <a:gd name="T80" fmla="*/ 320 w 5494"/>
                  <a:gd name="T81" fmla="*/ 158 h 1975"/>
                  <a:gd name="T82" fmla="*/ 338 w 5494"/>
                  <a:gd name="T83" fmla="*/ 160 h 1975"/>
                  <a:gd name="T84" fmla="*/ 360 w 5494"/>
                  <a:gd name="T85" fmla="*/ 145 h 1975"/>
                  <a:gd name="T86" fmla="*/ 395 w 5494"/>
                  <a:gd name="T87" fmla="*/ 134 h 1975"/>
                  <a:gd name="T88" fmla="*/ 414 w 5494"/>
                  <a:gd name="T89" fmla="*/ 131 h 1975"/>
                  <a:gd name="T90" fmla="*/ 441 w 5494"/>
                  <a:gd name="T91" fmla="*/ 143 h 1975"/>
                  <a:gd name="T92" fmla="*/ 464 w 5494"/>
                  <a:gd name="T93" fmla="*/ 96 h 1975"/>
                  <a:gd name="T94" fmla="*/ 466 w 5494"/>
                  <a:gd name="T95" fmla="*/ 51 h 1975"/>
                  <a:gd name="T96" fmla="*/ 465 w 5494"/>
                  <a:gd name="T97" fmla="*/ 43 h 197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494" h="1975">
                    <a:moveTo>
                      <a:pt x="5479" y="505"/>
                    </a:moveTo>
                    <a:cubicBezTo>
                      <a:pt x="5375" y="498"/>
                      <a:pt x="5279" y="216"/>
                      <a:pt x="4937" y="386"/>
                    </a:cubicBezTo>
                    <a:cubicBezTo>
                      <a:pt x="4885" y="416"/>
                      <a:pt x="4908" y="498"/>
                      <a:pt x="4863" y="542"/>
                    </a:cubicBezTo>
                    <a:cubicBezTo>
                      <a:pt x="4766" y="565"/>
                      <a:pt x="4685" y="557"/>
                      <a:pt x="4618" y="624"/>
                    </a:cubicBezTo>
                    <a:cubicBezTo>
                      <a:pt x="4529" y="676"/>
                      <a:pt x="4195" y="624"/>
                      <a:pt x="4195" y="624"/>
                    </a:cubicBezTo>
                    <a:cubicBezTo>
                      <a:pt x="4143" y="720"/>
                      <a:pt x="4024" y="624"/>
                      <a:pt x="3950" y="802"/>
                    </a:cubicBezTo>
                    <a:cubicBezTo>
                      <a:pt x="3898" y="928"/>
                      <a:pt x="3853" y="973"/>
                      <a:pt x="3675" y="973"/>
                    </a:cubicBezTo>
                    <a:cubicBezTo>
                      <a:pt x="3542" y="973"/>
                      <a:pt x="3608" y="787"/>
                      <a:pt x="3519" y="758"/>
                    </a:cubicBezTo>
                    <a:cubicBezTo>
                      <a:pt x="3482" y="750"/>
                      <a:pt x="3400" y="743"/>
                      <a:pt x="3415" y="683"/>
                    </a:cubicBezTo>
                    <a:cubicBezTo>
                      <a:pt x="3482" y="409"/>
                      <a:pt x="3601" y="446"/>
                      <a:pt x="3638" y="275"/>
                    </a:cubicBezTo>
                    <a:cubicBezTo>
                      <a:pt x="3571" y="171"/>
                      <a:pt x="3460" y="67"/>
                      <a:pt x="3341" y="156"/>
                    </a:cubicBezTo>
                    <a:cubicBezTo>
                      <a:pt x="3178" y="312"/>
                      <a:pt x="2888" y="505"/>
                      <a:pt x="2829" y="498"/>
                    </a:cubicBezTo>
                    <a:cubicBezTo>
                      <a:pt x="2710" y="483"/>
                      <a:pt x="2658" y="542"/>
                      <a:pt x="2621" y="542"/>
                    </a:cubicBezTo>
                    <a:cubicBezTo>
                      <a:pt x="2532" y="542"/>
                      <a:pt x="2606" y="446"/>
                      <a:pt x="2472" y="461"/>
                    </a:cubicBezTo>
                    <a:cubicBezTo>
                      <a:pt x="2331" y="475"/>
                      <a:pt x="2294" y="371"/>
                      <a:pt x="2176" y="371"/>
                    </a:cubicBezTo>
                    <a:cubicBezTo>
                      <a:pt x="2064" y="371"/>
                      <a:pt x="1931" y="631"/>
                      <a:pt x="1886" y="475"/>
                    </a:cubicBezTo>
                    <a:cubicBezTo>
                      <a:pt x="1856" y="386"/>
                      <a:pt x="1767" y="386"/>
                      <a:pt x="1678" y="253"/>
                    </a:cubicBezTo>
                    <a:cubicBezTo>
                      <a:pt x="1612" y="141"/>
                      <a:pt x="1300" y="0"/>
                      <a:pt x="1158" y="67"/>
                    </a:cubicBezTo>
                    <a:cubicBezTo>
                      <a:pt x="1062" y="104"/>
                      <a:pt x="1025" y="60"/>
                      <a:pt x="928" y="60"/>
                    </a:cubicBezTo>
                    <a:lnTo>
                      <a:pt x="624" y="37"/>
                    </a:lnTo>
                    <a:cubicBezTo>
                      <a:pt x="535" y="67"/>
                      <a:pt x="550" y="156"/>
                      <a:pt x="550" y="260"/>
                    </a:cubicBezTo>
                    <a:cubicBezTo>
                      <a:pt x="550" y="431"/>
                      <a:pt x="691" y="409"/>
                      <a:pt x="654" y="646"/>
                    </a:cubicBezTo>
                    <a:cubicBezTo>
                      <a:pt x="609" y="876"/>
                      <a:pt x="223" y="906"/>
                      <a:pt x="178" y="973"/>
                    </a:cubicBezTo>
                    <a:cubicBezTo>
                      <a:pt x="134" y="1054"/>
                      <a:pt x="67" y="1077"/>
                      <a:pt x="0" y="1114"/>
                    </a:cubicBezTo>
                    <a:cubicBezTo>
                      <a:pt x="587" y="1270"/>
                      <a:pt x="164" y="1485"/>
                      <a:pt x="416" y="1552"/>
                    </a:cubicBezTo>
                    <a:cubicBezTo>
                      <a:pt x="483" y="1567"/>
                      <a:pt x="483" y="1760"/>
                      <a:pt x="483" y="1782"/>
                    </a:cubicBezTo>
                    <a:cubicBezTo>
                      <a:pt x="483" y="1797"/>
                      <a:pt x="513" y="1812"/>
                      <a:pt x="572" y="1834"/>
                    </a:cubicBezTo>
                    <a:cubicBezTo>
                      <a:pt x="609" y="1842"/>
                      <a:pt x="624" y="1730"/>
                      <a:pt x="706" y="1752"/>
                    </a:cubicBezTo>
                    <a:cubicBezTo>
                      <a:pt x="891" y="1782"/>
                      <a:pt x="698" y="1500"/>
                      <a:pt x="980" y="1537"/>
                    </a:cubicBezTo>
                    <a:cubicBezTo>
                      <a:pt x="1210" y="1567"/>
                      <a:pt x="1144" y="1292"/>
                      <a:pt x="1277" y="1314"/>
                    </a:cubicBezTo>
                    <a:cubicBezTo>
                      <a:pt x="1403" y="1329"/>
                      <a:pt x="1210" y="1151"/>
                      <a:pt x="1612" y="1099"/>
                    </a:cubicBezTo>
                    <a:cubicBezTo>
                      <a:pt x="1752" y="1077"/>
                      <a:pt x="1693" y="1329"/>
                      <a:pt x="2124" y="1351"/>
                    </a:cubicBezTo>
                    <a:cubicBezTo>
                      <a:pt x="2198" y="1351"/>
                      <a:pt x="2138" y="1485"/>
                      <a:pt x="2220" y="1485"/>
                    </a:cubicBezTo>
                    <a:cubicBezTo>
                      <a:pt x="2294" y="1485"/>
                      <a:pt x="2279" y="1351"/>
                      <a:pt x="2354" y="1411"/>
                    </a:cubicBezTo>
                    <a:lnTo>
                      <a:pt x="2391" y="1544"/>
                    </a:lnTo>
                    <a:cubicBezTo>
                      <a:pt x="2569" y="1567"/>
                      <a:pt x="2517" y="1626"/>
                      <a:pt x="2517" y="1760"/>
                    </a:cubicBezTo>
                    <a:lnTo>
                      <a:pt x="2584" y="1760"/>
                    </a:lnTo>
                    <a:cubicBezTo>
                      <a:pt x="2680" y="1760"/>
                      <a:pt x="2792" y="1649"/>
                      <a:pt x="2888" y="1582"/>
                    </a:cubicBezTo>
                    <a:cubicBezTo>
                      <a:pt x="3000" y="1374"/>
                      <a:pt x="3044" y="1619"/>
                      <a:pt x="3081" y="1604"/>
                    </a:cubicBezTo>
                    <a:cubicBezTo>
                      <a:pt x="3296" y="1500"/>
                      <a:pt x="3400" y="1908"/>
                      <a:pt x="3631" y="1908"/>
                    </a:cubicBezTo>
                    <a:cubicBezTo>
                      <a:pt x="3697" y="1908"/>
                      <a:pt x="3734" y="1849"/>
                      <a:pt x="3772" y="1871"/>
                    </a:cubicBezTo>
                    <a:cubicBezTo>
                      <a:pt x="3928" y="1975"/>
                      <a:pt x="3920" y="1908"/>
                      <a:pt x="3980" y="1893"/>
                    </a:cubicBezTo>
                    <a:cubicBezTo>
                      <a:pt x="4158" y="1849"/>
                      <a:pt x="4173" y="1819"/>
                      <a:pt x="4239" y="1715"/>
                    </a:cubicBezTo>
                    <a:cubicBezTo>
                      <a:pt x="4388" y="1507"/>
                      <a:pt x="4662" y="1589"/>
                      <a:pt x="4662" y="1589"/>
                    </a:cubicBezTo>
                    <a:cubicBezTo>
                      <a:pt x="4714" y="1656"/>
                      <a:pt x="4826" y="1552"/>
                      <a:pt x="4878" y="1552"/>
                    </a:cubicBezTo>
                    <a:cubicBezTo>
                      <a:pt x="5004" y="1552"/>
                      <a:pt x="5108" y="1626"/>
                      <a:pt x="5197" y="1686"/>
                    </a:cubicBezTo>
                    <a:cubicBezTo>
                      <a:pt x="5316" y="1507"/>
                      <a:pt x="5442" y="1307"/>
                      <a:pt x="5472" y="1136"/>
                    </a:cubicBezTo>
                    <a:cubicBezTo>
                      <a:pt x="5494" y="995"/>
                      <a:pt x="5487" y="743"/>
                      <a:pt x="5494" y="609"/>
                    </a:cubicBezTo>
                    <a:cubicBezTo>
                      <a:pt x="5494" y="565"/>
                      <a:pt x="5479" y="535"/>
                      <a:pt x="5479" y="505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173"/>
              <p:cNvSpPr>
                <a:spLocks/>
              </p:cNvSpPr>
              <p:nvPr/>
            </p:nvSpPr>
            <p:spPr bwMode="auto">
              <a:xfrm>
                <a:off x="6722838" y="2330910"/>
                <a:ext cx="500437" cy="619452"/>
              </a:xfrm>
              <a:custGeom>
                <a:avLst/>
                <a:gdLst>
                  <a:gd name="T0" fmla="*/ 192 w 3571"/>
                  <a:gd name="T1" fmla="*/ 354 h 4424"/>
                  <a:gd name="T2" fmla="*/ 205 w 3571"/>
                  <a:gd name="T3" fmla="*/ 333 h 4424"/>
                  <a:gd name="T4" fmla="*/ 196 w 3571"/>
                  <a:gd name="T5" fmla="*/ 301 h 4424"/>
                  <a:gd name="T6" fmla="*/ 205 w 3571"/>
                  <a:gd name="T7" fmla="*/ 265 h 4424"/>
                  <a:gd name="T8" fmla="*/ 210 w 3571"/>
                  <a:gd name="T9" fmla="*/ 244 h 4424"/>
                  <a:gd name="T10" fmla="*/ 228 w 3571"/>
                  <a:gd name="T11" fmla="*/ 238 h 4424"/>
                  <a:gd name="T12" fmla="*/ 244 w 3571"/>
                  <a:gd name="T13" fmla="*/ 214 h 4424"/>
                  <a:gd name="T14" fmla="*/ 260 w 3571"/>
                  <a:gd name="T15" fmla="*/ 187 h 4424"/>
                  <a:gd name="T16" fmla="*/ 275 w 3571"/>
                  <a:gd name="T17" fmla="*/ 165 h 4424"/>
                  <a:gd name="T18" fmla="*/ 303 w 3571"/>
                  <a:gd name="T19" fmla="*/ 150 h 4424"/>
                  <a:gd name="T20" fmla="*/ 275 w 3571"/>
                  <a:gd name="T21" fmla="*/ 137 h 4424"/>
                  <a:gd name="T22" fmla="*/ 253 w 3571"/>
                  <a:gd name="T23" fmla="*/ 116 h 4424"/>
                  <a:gd name="T24" fmla="*/ 213 w 3571"/>
                  <a:gd name="T25" fmla="*/ 74 h 4424"/>
                  <a:gd name="T26" fmla="*/ 174 w 3571"/>
                  <a:gd name="T27" fmla="*/ 47 h 4424"/>
                  <a:gd name="T28" fmla="*/ 135 w 3571"/>
                  <a:gd name="T29" fmla="*/ 21 h 4424"/>
                  <a:gd name="T30" fmla="*/ 90 w 3571"/>
                  <a:gd name="T31" fmla="*/ 0 h 4424"/>
                  <a:gd name="T32" fmla="*/ 64 w 3571"/>
                  <a:gd name="T33" fmla="*/ 2 h 4424"/>
                  <a:gd name="T34" fmla="*/ 24 w 3571"/>
                  <a:gd name="T35" fmla="*/ 1 h 4424"/>
                  <a:gd name="T36" fmla="*/ 9 w 3571"/>
                  <a:gd name="T37" fmla="*/ 24 h 4424"/>
                  <a:gd name="T38" fmla="*/ 17 w 3571"/>
                  <a:gd name="T39" fmla="*/ 37 h 4424"/>
                  <a:gd name="T40" fmla="*/ 9 w 3571"/>
                  <a:gd name="T41" fmla="*/ 48 h 4424"/>
                  <a:gd name="T42" fmla="*/ 21 w 3571"/>
                  <a:gd name="T43" fmla="*/ 81 h 4424"/>
                  <a:gd name="T44" fmla="*/ 28 w 3571"/>
                  <a:gd name="T45" fmla="*/ 100 h 4424"/>
                  <a:gd name="T46" fmla="*/ 21 w 3571"/>
                  <a:gd name="T47" fmla="*/ 125 h 4424"/>
                  <a:gd name="T48" fmla="*/ 30 w 3571"/>
                  <a:gd name="T49" fmla="*/ 162 h 4424"/>
                  <a:gd name="T50" fmla="*/ 27 w 3571"/>
                  <a:gd name="T51" fmla="*/ 195 h 4424"/>
                  <a:gd name="T52" fmla="*/ 42 w 3571"/>
                  <a:gd name="T53" fmla="*/ 223 h 4424"/>
                  <a:gd name="T54" fmla="*/ 47 w 3571"/>
                  <a:gd name="T55" fmla="*/ 254 h 4424"/>
                  <a:gd name="T56" fmla="*/ 70 w 3571"/>
                  <a:gd name="T57" fmla="*/ 289 h 4424"/>
                  <a:gd name="T58" fmla="*/ 60 w 3571"/>
                  <a:gd name="T59" fmla="*/ 311 h 4424"/>
                  <a:gd name="T60" fmla="*/ 57 w 3571"/>
                  <a:gd name="T61" fmla="*/ 325 h 4424"/>
                  <a:gd name="T62" fmla="*/ 82 w 3571"/>
                  <a:gd name="T63" fmla="*/ 327 h 4424"/>
                  <a:gd name="T64" fmla="*/ 102 w 3571"/>
                  <a:gd name="T65" fmla="*/ 327 h 4424"/>
                  <a:gd name="T66" fmla="*/ 146 w 3571"/>
                  <a:gd name="T67" fmla="*/ 343 h 4424"/>
                  <a:gd name="T68" fmla="*/ 164 w 3571"/>
                  <a:gd name="T69" fmla="*/ 362 h 4424"/>
                  <a:gd name="T70" fmla="*/ 188 w 3571"/>
                  <a:gd name="T71" fmla="*/ 353 h 4424"/>
                  <a:gd name="T72" fmla="*/ 192 w 3571"/>
                  <a:gd name="T73" fmla="*/ 354 h 44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571" h="4424">
                    <a:moveTo>
                      <a:pt x="2264" y="4179"/>
                    </a:moveTo>
                    <a:cubicBezTo>
                      <a:pt x="2279" y="4098"/>
                      <a:pt x="2383" y="3986"/>
                      <a:pt x="2413" y="3934"/>
                    </a:cubicBezTo>
                    <a:cubicBezTo>
                      <a:pt x="2494" y="3771"/>
                      <a:pt x="2309" y="3845"/>
                      <a:pt x="2309" y="3556"/>
                    </a:cubicBezTo>
                    <a:cubicBezTo>
                      <a:pt x="2309" y="3326"/>
                      <a:pt x="2420" y="3296"/>
                      <a:pt x="2420" y="3125"/>
                    </a:cubicBezTo>
                    <a:cubicBezTo>
                      <a:pt x="2420" y="3103"/>
                      <a:pt x="2346" y="2984"/>
                      <a:pt x="2472" y="2880"/>
                    </a:cubicBezTo>
                    <a:cubicBezTo>
                      <a:pt x="2546" y="2813"/>
                      <a:pt x="2613" y="2888"/>
                      <a:pt x="2687" y="2813"/>
                    </a:cubicBezTo>
                    <a:cubicBezTo>
                      <a:pt x="2791" y="2702"/>
                      <a:pt x="2821" y="2695"/>
                      <a:pt x="2873" y="2524"/>
                    </a:cubicBezTo>
                    <a:cubicBezTo>
                      <a:pt x="2917" y="2353"/>
                      <a:pt x="3029" y="2323"/>
                      <a:pt x="3066" y="2205"/>
                    </a:cubicBezTo>
                    <a:cubicBezTo>
                      <a:pt x="3110" y="2049"/>
                      <a:pt x="3155" y="2034"/>
                      <a:pt x="3244" y="1945"/>
                    </a:cubicBezTo>
                    <a:cubicBezTo>
                      <a:pt x="3333" y="1848"/>
                      <a:pt x="3556" y="1878"/>
                      <a:pt x="3571" y="1774"/>
                    </a:cubicBezTo>
                    <a:cubicBezTo>
                      <a:pt x="3459" y="1700"/>
                      <a:pt x="3303" y="1692"/>
                      <a:pt x="3237" y="1618"/>
                    </a:cubicBezTo>
                    <a:cubicBezTo>
                      <a:pt x="3177" y="1544"/>
                      <a:pt x="3103" y="1440"/>
                      <a:pt x="2984" y="1373"/>
                    </a:cubicBezTo>
                    <a:cubicBezTo>
                      <a:pt x="2732" y="1239"/>
                      <a:pt x="2932" y="1217"/>
                      <a:pt x="2516" y="868"/>
                    </a:cubicBezTo>
                    <a:cubicBezTo>
                      <a:pt x="2398" y="772"/>
                      <a:pt x="2220" y="690"/>
                      <a:pt x="2056" y="549"/>
                    </a:cubicBezTo>
                    <a:cubicBezTo>
                      <a:pt x="1893" y="400"/>
                      <a:pt x="1789" y="371"/>
                      <a:pt x="1588" y="252"/>
                    </a:cubicBezTo>
                    <a:cubicBezTo>
                      <a:pt x="1455" y="178"/>
                      <a:pt x="1299" y="0"/>
                      <a:pt x="1061" y="0"/>
                    </a:cubicBezTo>
                    <a:cubicBezTo>
                      <a:pt x="972" y="0"/>
                      <a:pt x="846" y="0"/>
                      <a:pt x="757" y="29"/>
                    </a:cubicBezTo>
                    <a:lnTo>
                      <a:pt x="282" y="15"/>
                    </a:lnTo>
                    <a:cubicBezTo>
                      <a:pt x="215" y="89"/>
                      <a:pt x="260" y="208"/>
                      <a:pt x="111" y="289"/>
                    </a:cubicBezTo>
                    <a:cubicBezTo>
                      <a:pt x="0" y="356"/>
                      <a:pt x="104" y="408"/>
                      <a:pt x="200" y="438"/>
                    </a:cubicBezTo>
                    <a:cubicBezTo>
                      <a:pt x="185" y="505"/>
                      <a:pt x="74" y="519"/>
                      <a:pt x="104" y="571"/>
                    </a:cubicBezTo>
                    <a:cubicBezTo>
                      <a:pt x="170" y="698"/>
                      <a:pt x="178" y="809"/>
                      <a:pt x="245" y="950"/>
                    </a:cubicBezTo>
                    <a:cubicBezTo>
                      <a:pt x="260" y="995"/>
                      <a:pt x="326" y="1106"/>
                      <a:pt x="326" y="1180"/>
                    </a:cubicBezTo>
                    <a:cubicBezTo>
                      <a:pt x="326" y="1314"/>
                      <a:pt x="252" y="1336"/>
                      <a:pt x="245" y="1470"/>
                    </a:cubicBezTo>
                    <a:cubicBezTo>
                      <a:pt x="222" y="1774"/>
                      <a:pt x="356" y="1714"/>
                      <a:pt x="349" y="1915"/>
                    </a:cubicBezTo>
                    <a:cubicBezTo>
                      <a:pt x="341" y="2034"/>
                      <a:pt x="319" y="2182"/>
                      <a:pt x="319" y="2301"/>
                    </a:cubicBezTo>
                    <a:cubicBezTo>
                      <a:pt x="319" y="2457"/>
                      <a:pt x="468" y="2479"/>
                      <a:pt x="490" y="2628"/>
                    </a:cubicBezTo>
                    <a:cubicBezTo>
                      <a:pt x="505" y="2784"/>
                      <a:pt x="534" y="2850"/>
                      <a:pt x="557" y="2992"/>
                    </a:cubicBezTo>
                    <a:cubicBezTo>
                      <a:pt x="542" y="3244"/>
                      <a:pt x="824" y="3147"/>
                      <a:pt x="824" y="3407"/>
                    </a:cubicBezTo>
                    <a:cubicBezTo>
                      <a:pt x="824" y="3533"/>
                      <a:pt x="705" y="3578"/>
                      <a:pt x="705" y="3667"/>
                    </a:cubicBezTo>
                    <a:cubicBezTo>
                      <a:pt x="705" y="3689"/>
                      <a:pt x="653" y="3830"/>
                      <a:pt x="668" y="3830"/>
                    </a:cubicBezTo>
                    <a:lnTo>
                      <a:pt x="972" y="3853"/>
                    </a:lnTo>
                    <a:cubicBezTo>
                      <a:pt x="1069" y="3853"/>
                      <a:pt x="1106" y="3897"/>
                      <a:pt x="1202" y="3860"/>
                    </a:cubicBezTo>
                    <a:cubicBezTo>
                      <a:pt x="1344" y="3793"/>
                      <a:pt x="1656" y="3934"/>
                      <a:pt x="1722" y="4046"/>
                    </a:cubicBezTo>
                    <a:cubicBezTo>
                      <a:pt x="1811" y="4179"/>
                      <a:pt x="1900" y="4179"/>
                      <a:pt x="1930" y="4268"/>
                    </a:cubicBezTo>
                    <a:cubicBezTo>
                      <a:pt x="1975" y="4424"/>
                      <a:pt x="2108" y="4164"/>
                      <a:pt x="2220" y="4164"/>
                    </a:cubicBezTo>
                    <a:cubicBezTo>
                      <a:pt x="2235" y="4164"/>
                      <a:pt x="2249" y="4172"/>
                      <a:pt x="2264" y="4179"/>
                    </a:cubicBezTo>
                    <a:close/>
                  </a:path>
                </a:pathLst>
              </a:custGeom>
              <a:solidFill>
                <a:srgbClr val="9FDE74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174"/>
              <p:cNvSpPr>
                <a:spLocks/>
              </p:cNvSpPr>
              <p:nvPr/>
            </p:nvSpPr>
            <p:spPr bwMode="auto">
              <a:xfrm>
                <a:off x="7051508" y="2578691"/>
                <a:ext cx="436024" cy="264300"/>
              </a:xfrm>
              <a:custGeom>
                <a:avLst/>
                <a:gdLst>
                  <a:gd name="T0" fmla="*/ 6 w 3110"/>
                  <a:gd name="T1" fmla="*/ 113 h 1886"/>
                  <a:gd name="T2" fmla="*/ 11 w 3110"/>
                  <a:gd name="T3" fmla="*/ 94 h 1886"/>
                  <a:gd name="T4" fmla="*/ 29 w 3110"/>
                  <a:gd name="T5" fmla="*/ 88 h 1886"/>
                  <a:gd name="T6" fmla="*/ 45 w 3110"/>
                  <a:gd name="T7" fmla="*/ 64 h 1886"/>
                  <a:gd name="T8" fmla="*/ 61 w 3110"/>
                  <a:gd name="T9" fmla="*/ 37 h 1886"/>
                  <a:gd name="T10" fmla="*/ 76 w 3110"/>
                  <a:gd name="T11" fmla="*/ 15 h 1886"/>
                  <a:gd name="T12" fmla="*/ 104 w 3110"/>
                  <a:gd name="T13" fmla="*/ 0 h 1886"/>
                  <a:gd name="T14" fmla="*/ 111 w 3110"/>
                  <a:gd name="T15" fmla="*/ 10 h 1886"/>
                  <a:gd name="T16" fmla="*/ 166 w 3110"/>
                  <a:gd name="T17" fmla="*/ 33 h 1886"/>
                  <a:gd name="T18" fmla="*/ 254 w 3110"/>
                  <a:gd name="T19" fmla="*/ 93 h 1886"/>
                  <a:gd name="T20" fmla="*/ 261 w 3110"/>
                  <a:gd name="T21" fmla="*/ 120 h 1886"/>
                  <a:gd name="T22" fmla="*/ 264 w 3110"/>
                  <a:gd name="T23" fmla="*/ 136 h 1886"/>
                  <a:gd name="T24" fmla="*/ 207 w 3110"/>
                  <a:gd name="T25" fmla="*/ 126 h 1886"/>
                  <a:gd name="T26" fmla="*/ 186 w 3110"/>
                  <a:gd name="T27" fmla="*/ 129 h 1886"/>
                  <a:gd name="T28" fmla="*/ 168 w 3110"/>
                  <a:gd name="T29" fmla="*/ 116 h 1886"/>
                  <a:gd name="T30" fmla="*/ 158 w 3110"/>
                  <a:gd name="T31" fmla="*/ 128 h 1886"/>
                  <a:gd name="T32" fmla="*/ 158 w 3110"/>
                  <a:gd name="T33" fmla="*/ 139 h 1886"/>
                  <a:gd name="T34" fmla="*/ 142 w 3110"/>
                  <a:gd name="T35" fmla="*/ 160 h 1886"/>
                  <a:gd name="T36" fmla="*/ 125 w 3110"/>
                  <a:gd name="T37" fmla="*/ 143 h 1886"/>
                  <a:gd name="T38" fmla="*/ 107 w 3110"/>
                  <a:gd name="T39" fmla="*/ 147 h 1886"/>
                  <a:gd name="T40" fmla="*/ 86 w 3110"/>
                  <a:gd name="T41" fmla="*/ 135 h 1886"/>
                  <a:gd name="T42" fmla="*/ 111 w 3110"/>
                  <a:gd name="T43" fmla="*/ 95 h 1886"/>
                  <a:gd name="T44" fmla="*/ 101 w 3110"/>
                  <a:gd name="T45" fmla="*/ 89 h 1886"/>
                  <a:gd name="T46" fmla="*/ 37 w 3110"/>
                  <a:gd name="T47" fmla="*/ 120 h 1886"/>
                  <a:gd name="T48" fmla="*/ 13 w 3110"/>
                  <a:gd name="T49" fmla="*/ 115 h 1886"/>
                  <a:gd name="T50" fmla="*/ 6 w 3110"/>
                  <a:gd name="T51" fmla="*/ 113 h 188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3110" h="1886">
                    <a:moveTo>
                      <a:pt x="67" y="1336"/>
                    </a:moveTo>
                    <a:cubicBezTo>
                      <a:pt x="67" y="1321"/>
                      <a:pt x="0" y="1210"/>
                      <a:pt x="126" y="1106"/>
                    </a:cubicBezTo>
                    <a:cubicBezTo>
                      <a:pt x="200" y="1039"/>
                      <a:pt x="267" y="1114"/>
                      <a:pt x="341" y="1039"/>
                    </a:cubicBezTo>
                    <a:cubicBezTo>
                      <a:pt x="445" y="928"/>
                      <a:pt x="475" y="921"/>
                      <a:pt x="527" y="750"/>
                    </a:cubicBezTo>
                    <a:cubicBezTo>
                      <a:pt x="571" y="579"/>
                      <a:pt x="683" y="549"/>
                      <a:pt x="720" y="431"/>
                    </a:cubicBezTo>
                    <a:cubicBezTo>
                      <a:pt x="764" y="275"/>
                      <a:pt x="809" y="260"/>
                      <a:pt x="898" y="171"/>
                    </a:cubicBezTo>
                    <a:cubicBezTo>
                      <a:pt x="987" y="74"/>
                      <a:pt x="1210" y="104"/>
                      <a:pt x="1225" y="0"/>
                    </a:cubicBezTo>
                    <a:cubicBezTo>
                      <a:pt x="1254" y="37"/>
                      <a:pt x="1292" y="67"/>
                      <a:pt x="1306" y="119"/>
                    </a:cubicBezTo>
                    <a:cubicBezTo>
                      <a:pt x="1462" y="252"/>
                      <a:pt x="1663" y="393"/>
                      <a:pt x="1952" y="386"/>
                    </a:cubicBezTo>
                    <a:cubicBezTo>
                      <a:pt x="2554" y="371"/>
                      <a:pt x="2917" y="460"/>
                      <a:pt x="2992" y="1099"/>
                    </a:cubicBezTo>
                    <a:cubicBezTo>
                      <a:pt x="3073" y="1143"/>
                      <a:pt x="3044" y="1255"/>
                      <a:pt x="3073" y="1418"/>
                    </a:cubicBezTo>
                    <a:cubicBezTo>
                      <a:pt x="3081" y="1470"/>
                      <a:pt x="3096" y="1529"/>
                      <a:pt x="3110" y="1604"/>
                    </a:cubicBezTo>
                    <a:cubicBezTo>
                      <a:pt x="2851" y="1604"/>
                      <a:pt x="2687" y="1485"/>
                      <a:pt x="2442" y="1485"/>
                    </a:cubicBezTo>
                    <a:lnTo>
                      <a:pt x="2197" y="1522"/>
                    </a:lnTo>
                    <a:cubicBezTo>
                      <a:pt x="2093" y="1522"/>
                      <a:pt x="2071" y="1373"/>
                      <a:pt x="1975" y="1373"/>
                    </a:cubicBezTo>
                    <a:cubicBezTo>
                      <a:pt x="1893" y="1373"/>
                      <a:pt x="1856" y="1463"/>
                      <a:pt x="1856" y="1507"/>
                    </a:cubicBezTo>
                    <a:lnTo>
                      <a:pt x="1856" y="1641"/>
                    </a:lnTo>
                    <a:cubicBezTo>
                      <a:pt x="1856" y="1700"/>
                      <a:pt x="1782" y="1886"/>
                      <a:pt x="1670" y="1886"/>
                    </a:cubicBezTo>
                    <a:cubicBezTo>
                      <a:pt x="1566" y="1886"/>
                      <a:pt x="1574" y="1685"/>
                      <a:pt x="1470" y="1685"/>
                    </a:cubicBezTo>
                    <a:cubicBezTo>
                      <a:pt x="1395" y="1685"/>
                      <a:pt x="1351" y="1737"/>
                      <a:pt x="1262" y="1737"/>
                    </a:cubicBezTo>
                    <a:cubicBezTo>
                      <a:pt x="1180" y="1737"/>
                      <a:pt x="1009" y="1656"/>
                      <a:pt x="1009" y="1596"/>
                    </a:cubicBezTo>
                    <a:cubicBezTo>
                      <a:pt x="1009" y="1373"/>
                      <a:pt x="1306" y="1329"/>
                      <a:pt x="1306" y="1121"/>
                    </a:cubicBezTo>
                    <a:cubicBezTo>
                      <a:pt x="1306" y="1076"/>
                      <a:pt x="1262" y="1047"/>
                      <a:pt x="1188" y="1047"/>
                    </a:cubicBezTo>
                    <a:cubicBezTo>
                      <a:pt x="876" y="1047"/>
                      <a:pt x="757" y="1411"/>
                      <a:pt x="438" y="1411"/>
                    </a:cubicBezTo>
                    <a:cubicBezTo>
                      <a:pt x="304" y="1411"/>
                      <a:pt x="237" y="1351"/>
                      <a:pt x="148" y="1351"/>
                    </a:cubicBezTo>
                    <a:cubicBezTo>
                      <a:pt x="148" y="1351"/>
                      <a:pt x="96" y="1336"/>
                      <a:pt x="67" y="1336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176"/>
              <p:cNvSpPr>
                <a:spLocks/>
              </p:cNvSpPr>
              <p:nvPr/>
            </p:nvSpPr>
            <p:spPr bwMode="auto">
              <a:xfrm>
                <a:off x="5596441" y="2565476"/>
                <a:ext cx="599534" cy="1063806"/>
              </a:xfrm>
              <a:custGeom>
                <a:avLst/>
                <a:gdLst>
                  <a:gd name="T0" fmla="*/ 43 w 4276"/>
                  <a:gd name="T1" fmla="*/ 556 h 7594"/>
                  <a:gd name="T2" fmla="*/ 101 w 4276"/>
                  <a:gd name="T3" fmla="*/ 614 h 7594"/>
                  <a:gd name="T4" fmla="*/ 150 w 4276"/>
                  <a:gd name="T5" fmla="*/ 606 h 7594"/>
                  <a:gd name="T6" fmla="*/ 176 w 4276"/>
                  <a:gd name="T7" fmla="*/ 621 h 7594"/>
                  <a:gd name="T8" fmla="*/ 215 w 4276"/>
                  <a:gd name="T9" fmla="*/ 644 h 7594"/>
                  <a:gd name="T10" fmla="*/ 239 w 4276"/>
                  <a:gd name="T11" fmla="*/ 635 h 7594"/>
                  <a:gd name="T12" fmla="*/ 316 w 4276"/>
                  <a:gd name="T13" fmla="*/ 631 h 7594"/>
                  <a:gd name="T14" fmla="*/ 325 w 4276"/>
                  <a:gd name="T15" fmla="*/ 578 h 7594"/>
                  <a:gd name="T16" fmla="*/ 323 w 4276"/>
                  <a:gd name="T17" fmla="*/ 556 h 7594"/>
                  <a:gd name="T18" fmla="*/ 316 w 4276"/>
                  <a:gd name="T19" fmla="*/ 514 h 7594"/>
                  <a:gd name="T20" fmla="*/ 323 w 4276"/>
                  <a:gd name="T21" fmla="*/ 483 h 7594"/>
                  <a:gd name="T22" fmla="*/ 304 w 4276"/>
                  <a:gd name="T23" fmla="*/ 451 h 7594"/>
                  <a:gd name="T24" fmla="*/ 325 w 4276"/>
                  <a:gd name="T25" fmla="*/ 412 h 7594"/>
                  <a:gd name="T26" fmla="*/ 351 w 4276"/>
                  <a:gd name="T27" fmla="*/ 380 h 7594"/>
                  <a:gd name="T28" fmla="*/ 330 w 4276"/>
                  <a:gd name="T29" fmla="*/ 370 h 7594"/>
                  <a:gd name="T30" fmla="*/ 306 w 4276"/>
                  <a:gd name="T31" fmla="*/ 324 h 7594"/>
                  <a:gd name="T32" fmla="*/ 275 w 4276"/>
                  <a:gd name="T33" fmla="*/ 283 h 7594"/>
                  <a:gd name="T34" fmla="*/ 291 w 4276"/>
                  <a:gd name="T35" fmla="*/ 242 h 7594"/>
                  <a:gd name="T36" fmla="*/ 301 w 4276"/>
                  <a:gd name="T37" fmla="*/ 203 h 7594"/>
                  <a:gd name="T38" fmla="*/ 256 w 4276"/>
                  <a:gd name="T39" fmla="*/ 182 h 7594"/>
                  <a:gd name="T40" fmla="*/ 236 w 4276"/>
                  <a:gd name="T41" fmla="*/ 157 h 7594"/>
                  <a:gd name="T42" fmla="*/ 243 w 4276"/>
                  <a:gd name="T43" fmla="*/ 133 h 7594"/>
                  <a:gd name="T44" fmla="*/ 232 w 4276"/>
                  <a:gd name="T45" fmla="*/ 23 h 7594"/>
                  <a:gd name="T46" fmla="*/ 173 w 4276"/>
                  <a:gd name="T47" fmla="*/ 0 h 7594"/>
                  <a:gd name="T48" fmla="*/ 177 w 4276"/>
                  <a:gd name="T49" fmla="*/ 21 h 7594"/>
                  <a:gd name="T50" fmla="*/ 187 w 4276"/>
                  <a:gd name="T51" fmla="*/ 57 h 7594"/>
                  <a:gd name="T52" fmla="*/ 160 w 4276"/>
                  <a:gd name="T53" fmla="*/ 101 h 7594"/>
                  <a:gd name="T54" fmla="*/ 119 w 4276"/>
                  <a:gd name="T55" fmla="*/ 137 h 7594"/>
                  <a:gd name="T56" fmla="*/ 118 w 4276"/>
                  <a:gd name="T57" fmla="*/ 209 h 7594"/>
                  <a:gd name="T58" fmla="*/ 43 w 4276"/>
                  <a:gd name="T59" fmla="*/ 336 h 7594"/>
                  <a:gd name="T60" fmla="*/ 13 w 4276"/>
                  <a:gd name="T61" fmla="*/ 424 h 7594"/>
                  <a:gd name="T62" fmla="*/ 8 w 4276"/>
                  <a:gd name="T63" fmla="*/ 507 h 7594"/>
                  <a:gd name="T64" fmla="*/ 18 w 4276"/>
                  <a:gd name="T65" fmla="*/ 564 h 7594"/>
                  <a:gd name="T66" fmla="*/ 23 w 4276"/>
                  <a:gd name="T67" fmla="*/ 585 h 759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276" h="7594">
                    <a:moveTo>
                      <a:pt x="274" y="6904"/>
                    </a:moveTo>
                    <a:cubicBezTo>
                      <a:pt x="400" y="6719"/>
                      <a:pt x="341" y="6666"/>
                      <a:pt x="512" y="6555"/>
                    </a:cubicBezTo>
                    <a:cubicBezTo>
                      <a:pt x="556" y="6666"/>
                      <a:pt x="534" y="6934"/>
                      <a:pt x="534" y="6963"/>
                    </a:cubicBezTo>
                    <a:cubicBezTo>
                      <a:pt x="534" y="7001"/>
                      <a:pt x="1068" y="7246"/>
                      <a:pt x="1187" y="7246"/>
                    </a:cubicBezTo>
                    <a:cubicBezTo>
                      <a:pt x="1291" y="7246"/>
                      <a:pt x="1291" y="7060"/>
                      <a:pt x="1395" y="7060"/>
                    </a:cubicBezTo>
                    <a:cubicBezTo>
                      <a:pt x="1432" y="7060"/>
                      <a:pt x="1744" y="7127"/>
                      <a:pt x="1766" y="7149"/>
                    </a:cubicBezTo>
                    <a:cubicBezTo>
                      <a:pt x="1826" y="7186"/>
                      <a:pt x="1841" y="7416"/>
                      <a:pt x="1937" y="7416"/>
                    </a:cubicBezTo>
                    <a:cubicBezTo>
                      <a:pt x="2019" y="7416"/>
                      <a:pt x="2048" y="7342"/>
                      <a:pt x="2078" y="7320"/>
                    </a:cubicBezTo>
                    <a:lnTo>
                      <a:pt x="2175" y="7320"/>
                    </a:lnTo>
                    <a:cubicBezTo>
                      <a:pt x="2175" y="7535"/>
                      <a:pt x="2353" y="7594"/>
                      <a:pt x="2531" y="7594"/>
                    </a:cubicBezTo>
                    <a:cubicBezTo>
                      <a:pt x="2546" y="7476"/>
                      <a:pt x="2635" y="7461"/>
                      <a:pt x="2687" y="7379"/>
                    </a:cubicBezTo>
                    <a:cubicBezTo>
                      <a:pt x="2754" y="7401"/>
                      <a:pt x="2783" y="7424"/>
                      <a:pt x="2821" y="7491"/>
                    </a:cubicBezTo>
                    <a:cubicBezTo>
                      <a:pt x="2976" y="7327"/>
                      <a:pt x="3155" y="7513"/>
                      <a:pt x="3303" y="7379"/>
                    </a:cubicBezTo>
                    <a:cubicBezTo>
                      <a:pt x="3392" y="7439"/>
                      <a:pt x="3600" y="7416"/>
                      <a:pt x="3726" y="7439"/>
                    </a:cubicBezTo>
                    <a:cubicBezTo>
                      <a:pt x="3719" y="7097"/>
                      <a:pt x="3993" y="7067"/>
                      <a:pt x="3882" y="6963"/>
                    </a:cubicBezTo>
                    <a:cubicBezTo>
                      <a:pt x="3823" y="6934"/>
                      <a:pt x="3823" y="6904"/>
                      <a:pt x="3823" y="6815"/>
                    </a:cubicBezTo>
                    <a:cubicBezTo>
                      <a:pt x="3823" y="6770"/>
                      <a:pt x="3919" y="6770"/>
                      <a:pt x="3919" y="6726"/>
                    </a:cubicBezTo>
                    <a:cubicBezTo>
                      <a:pt x="3919" y="6652"/>
                      <a:pt x="3800" y="6629"/>
                      <a:pt x="3800" y="6555"/>
                    </a:cubicBezTo>
                    <a:cubicBezTo>
                      <a:pt x="3800" y="6474"/>
                      <a:pt x="3882" y="6481"/>
                      <a:pt x="3882" y="6384"/>
                    </a:cubicBezTo>
                    <a:cubicBezTo>
                      <a:pt x="3882" y="6288"/>
                      <a:pt x="3711" y="6362"/>
                      <a:pt x="3726" y="6065"/>
                    </a:cubicBezTo>
                    <a:cubicBezTo>
                      <a:pt x="3734" y="5924"/>
                      <a:pt x="3852" y="6006"/>
                      <a:pt x="3897" y="5850"/>
                    </a:cubicBezTo>
                    <a:cubicBezTo>
                      <a:pt x="3978" y="5753"/>
                      <a:pt x="3786" y="5768"/>
                      <a:pt x="3800" y="5701"/>
                    </a:cubicBezTo>
                    <a:cubicBezTo>
                      <a:pt x="3800" y="5657"/>
                      <a:pt x="3978" y="5672"/>
                      <a:pt x="3941" y="5598"/>
                    </a:cubicBezTo>
                    <a:cubicBezTo>
                      <a:pt x="3897" y="5397"/>
                      <a:pt x="3585" y="5553"/>
                      <a:pt x="3585" y="5323"/>
                    </a:cubicBezTo>
                    <a:cubicBezTo>
                      <a:pt x="3585" y="5145"/>
                      <a:pt x="3682" y="5085"/>
                      <a:pt x="3778" y="5011"/>
                    </a:cubicBezTo>
                    <a:cubicBezTo>
                      <a:pt x="3860" y="4944"/>
                      <a:pt x="3823" y="4900"/>
                      <a:pt x="3830" y="4862"/>
                    </a:cubicBezTo>
                    <a:cubicBezTo>
                      <a:pt x="3852" y="4773"/>
                      <a:pt x="4171" y="4669"/>
                      <a:pt x="4276" y="4476"/>
                    </a:cubicBezTo>
                    <a:cubicBezTo>
                      <a:pt x="4231" y="4484"/>
                      <a:pt x="4194" y="4491"/>
                      <a:pt x="4135" y="4476"/>
                    </a:cubicBezTo>
                    <a:cubicBezTo>
                      <a:pt x="4105" y="4476"/>
                      <a:pt x="4082" y="4447"/>
                      <a:pt x="4053" y="4417"/>
                    </a:cubicBezTo>
                    <a:cubicBezTo>
                      <a:pt x="4016" y="4387"/>
                      <a:pt x="3971" y="4358"/>
                      <a:pt x="3890" y="4358"/>
                    </a:cubicBezTo>
                    <a:cubicBezTo>
                      <a:pt x="3652" y="4358"/>
                      <a:pt x="3689" y="4098"/>
                      <a:pt x="3570" y="4024"/>
                    </a:cubicBezTo>
                    <a:cubicBezTo>
                      <a:pt x="3518" y="4001"/>
                      <a:pt x="3578" y="3853"/>
                      <a:pt x="3607" y="3823"/>
                    </a:cubicBezTo>
                    <a:cubicBezTo>
                      <a:pt x="3682" y="3697"/>
                      <a:pt x="3385" y="3742"/>
                      <a:pt x="3370" y="3526"/>
                    </a:cubicBezTo>
                    <a:cubicBezTo>
                      <a:pt x="3370" y="3303"/>
                      <a:pt x="3236" y="3415"/>
                      <a:pt x="3236" y="3341"/>
                    </a:cubicBezTo>
                    <a:cubicBezTo>
                      <a:pt x="3236" y="3207"/>
                      <a:pt x="3333" y="3214"/>
                      <a:pt x="3355" y="3103"/>
                    </a:cubicBezTo>
                    <a:cubicBezTo>
                      <a:pt x="3370" y="3044"/>
                      <a:pt x="3362" y="2910"/>
                      <a:pt x="3422" y="2851"/>
                    </a:cubicBezTo>
                    <a:cubicBezTo>
                      <a:pt x="3526" y="2747"/>
                      <a:pt x="3711" y="2984"/>
                      <a:pt x="3711" y="2554"/>
                    </a:cubicBezTo>
                    <a:cubicBezTo>
                      <a:pt x="3711" y="2457"/>
                      <a:pt x="3667" y="2398"/>
                      <a:pt x="3548" y="2398"/>
                    </a:cubicBezTo>
                    <a:cubicBezTo>
                      <a:pt x="3429" y="2398"/>
                      <a:pt x="3259" y="2479"/>
                      <a:pt x="3214" y="2442"/>
                    </a:cubicBezTo>
                    <a:cubicBezTo>
                      <a:pt x="3177" y="2413"/>
                      <a:pt x="3043" y="2264"/>
                      <a:pt x="3013" y="2145"/>
                    </a:cubicBezTo>
                    <a:cubicBezTo>
                      <a:pt x="2976" y="2026"/>
                      <a:pt x="2865" y="2034"/>
                      <a:pt x="2850" y="2026"/>
                    </a:cubicBezTo>
                    <a:cubicBezTo>
                      <a:pt x="2694" y="1930"/>
                      <a:pt x="2962" y="1945"/>
                      <a:pt x="2783" y="1856"/>
                    </a:cubicBezTo>
                    <a:cubicBezTo>
                      <a:pt x="2761" y="1856"/>
                      <a:pt x="2627" y="1834"/>
                      <a:pt x="2687" y="1767"/>
                    </a:cubicBezTo>
                    <a:cubicBezTo>
                      <a:pt x="2724" y="1640"/>
                      <a:pt x="2850" y="1707"/>
                      <a:pt x="2865" y="1574"/>
                    </a:cubicBezTo>
                    <a:cubicBezTo>
                      <a:pt x="2917" y="1240"/>
                      <a:pt x="2939" y="1047"/>
                      <a:pt x="2939" y="735"/>
                    </a:cubicBezTo>
                    <a:cubicBezTo>
                      <a:pt x="2939" y="453"/>
                      <a:pt x="2768" y="275"/>
                      <a:pt x="2731" y="267"/>
                    </a:cubicBezTo>
                    <a:cubicBezTo>
                      <a:pt x="2509" y="252"/>
                      <a:pt x="2657" y="67"/>
                      <a:pt x="2345" y="96"/>
                    </a:cubicBezTo>
                    <a:cubicBezTo>
                      <a:pt x="2234" y="104"/>
                      <a:pt x="2145" y="37"/>
                      <a:pt x="2041" y="0"/>
                    </a:cubicBezTo>
                    <a:cubicBezTo>
                      <a:pt x="1967" y="52"/>
                      <a:pt x="1885" y="96"/>
                      <a:pt x="1885" y="163"/>
                    </a:cubicBezTo>
                    <a:cubicBezTo>
                      <a:pt x="1885" y="238"/>
                      <a:pt x="2019" y="230"/>
                      <a:pt x="2085" y="245"/>
                    </a:cubicBezTo>
                    <a:cubicBezTo>
                      <a:pt x="2175" y="245"/>
                      <a:pt x="2212" y="327"/>
                      <a:pt x="2293" y="401"/>
                    </a:cubicBezTo>
                    <a:cubicBezTo>
                      <a:pt x="2345" y="460"/>
                      <a:pt x="2197" y="482"/>
                      <a:pt x="2197" y="668"/>
                    </a:cubicBezTo>
                    <a:cubicBezTo>
                      <a:pt x="2189" y="913"/>
                      <a:pt x="2048" y="891"/>
                      <a:pt x="2056" y="943"/>
                    </a:cubicBezTo>
                    <a:cubicBezTo>
                      <a:pt x="2041" y="1128"/>
                      <a:pt x="1907" y="1076"/>
                      <a:pt x="1885" y="1195"/>
                    </a:cubicBezTo>
                    <a:cubicBezTo>
                      <a:pt x="1855" y="1292"/>
                      <a:pt x="1885" y="1329"/>
                      <a:pt x="1759" y="1358"/>
                    </a:cubicBezTo>
                    <a:cubicBezTo>
                      <a:pt x="1647" y="1381"/>
                      <a:pt x="1351" y="1425"/>
                      <a:pt x="1402" y="1618"/>
                    </a:cubicBezTo>
                    <a:cubicBezTo>
                      <a:pt x="1454" y="1841"/>
                      <a:pt x="1276" y="1952"/>
                      <a:pt x="1276" y="2079"/>
                    </a:cubicBezTo>
                    <a:cubicBezTo>
                      <a:pt x="1276" y="2257"/>
                      <a:pt x="1514" y="2145"/>
                      <a:pt x="1395" y="2465"/>
                    </a:cubicBezTo>
                    <a:cubicBezTo>
                      <a:pt x="1313" y="2687"/>
                      <a:pt x="1157" y="3103"/>
                      <a:pt x="972" y="3170"/>
                    </a:cubicBezTo>
                    <a:cubicBezTo>
                      <a:pt x="571" y="3467"/>
                      <a:pt x="504" y="3957"/>
                      <a:pt x="504" y="3957"/>
                    </a:cubicBezTo>
                    <a:cubicBezTo>
                      <a:pt x="393" y="4172"/>
                      <a:pt x="296" y="4328"/>
                      <a:pt x="289" y="4439"/>
                    </a:cubicBezTo>
                    <a:cubicBezTo>
                      <a:pt x="274" y="4581"/>
                      <a:pt x="178" y="4521"/>
                      <a:pt x="148" y="5003"/>
                    </a:cubicBezTo>
                    <a:cubicBezTo>
                      <a:pt x="141" y="5196"/>
                      <a:pt x="0" y="5271"/>
                      <a:pt x="96" y="5575"/>
                    </a:cubicBezTo>
                    <a:cubicBezTo>
                      <a:pt x="133" y="5701"/>
                      <a:pt x="51" y="5880"/>
                      <a:pt x="96" y="5976"/>
                    </a:cubicBezTo>
                    <a:cubicBezTo>
                      <a:pt x="185" y="6147"/>
                      <a:pt x="155" y="6214"/>
                      <a:pt x="133" y="6340"/>
                    </a:cubicBezTo>
                    <a:cubicBezTo>
                      <a:pt x="103" y="6518"/>
                      <a:pt x="274" y="6548"/>
                      <a:pt x="215" y="6652"/>
                    </a:cubicBezTo>
                    <a:cubicBezTo>
                      <a:pt x="178" y="6726"/>
                      <a:pt x="178" y="6852"/>
                      <a:pt x="141" y="6963"/>
                    </a:cubicBezTo>
                    <a:lnTo>
                      <a:pt x="274" y="6904"/>
                    </a:ln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Rectangle 178"/>
              <p:cNvSpPr>
                <a:spLocks noChangeArrowheads="1"/>
              </p:cNvSpPr>
              <p:nvPr/>
            </p:nvSpPr>
            <p:spPr bwMode="auto">
              <a:xfrm>
                <a:off x="5854092" y="3796121"/>
                <a:ext cx="137083" cy="87549"/>
              </a:xfrm>
              <a:prstGeom prst="rect">
                <a:avLst/>
              </a:prstGeom>
              <a:grpFill/>
              <a:ln w="6350">
                <a:solidFill>
                  <a:srgbClr val="FEFEFE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1pPr>
                <a:lvl2pPr marL="742950" indent="-28575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2pPr>
                <a:lvl3pPr marL="1143000" indent="-22860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3pPr>
                <a:lvl4pPr marL="1600200" indent="-22860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4pPr>
                <a:lvl5pPr marL="2057400" indent="-228600" eaLnBrk="0" hangingPunct="0"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Verdana" pitchFamily="34" charset="0"/>
                    <a:ea typeface="ヒラギノ角ゴ Pro W3" pitchFamily="1" charset="-128"/>
                  </a:defRPr>
                </a:lvl9pPr>
              </a:lstStyle>
              <a:p>
                <a:pPr eaLnBrk="1" hangingPunct="1">
                  <a:defRPr/>
                </a:pPr>
                <a:endParaRPr lang="pt-BR" altLang="pt-BR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91" name="Grupo 2"/>
            <p:cNvGrpSpPr/>
            <p:nvPr/>
          </p:nvGrpSpPr>
          <p:grpSpPr>
            <a:xfrm>
              <a:off x="5251587" y="548680"/>
              <a:ext cx="4066804" cy="3982595"/>
              <a:chOff x="2846514" y="1348046"/>
              <a:chExt cx="4655883" cy="4116466"/>
            </a:xfrm>
            <a:solidFill>
              <a:srgbClr val="9FDE74"/>
            </a:solidFill>
          </p:grpSpPr>
          <p:sp>
            <p:nvSpPr>
              <p:cNvPr id="192" name="Freeform 141"/>
              <p:cNvSpPr>
                <a:spLocks/>
              </p:cNvSpPr>
              <p:nvPr/>
            </p:nvSpPr>
            <p:spPr bwMode="auto">
              <a:xfrm>
                <a:off x="5726918" y="1952631"/>
                <a:ext cx="51200" cy="23126"/>
              </a:xfrm>
              <a:custGeom>
                <a:avLst/>
                <a:gdLst>
                  <a:gd name="T0" fmla="*/ 0 w 356"/>
                  <a:gd name="T1" fmla="*/ 9 h 163"/>
                  <a:gd name="T2" fmla="*/ 16 w 356"/>
                  <a:gd name="T3" fmla="*/ 1 h 163"/>
                  <a:gd name="T4" fmla="*/ 31 w 356"/>
                  <a:gd name="T5" fmla="*/ 4 h 163"/>
                  <a:gd name="T6" fmla="*/ 17 w 356"/>
                  <a:gd name="T7" fmla="*/ 14 h 163"/>
                  <a:gd name="T8" fmla="*/ 0 w 356"/>
                  <a:gd name="T9" fmla="*/ 9 h 1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56" h="163">
                    <a:moveTo>
                      <a:pt x="0" y="104"/>
                    </a:moveTo>
                    <a:cubicBezTo>
                      <a:pt x="37" y="89"/>
                      <a:pt x="81" y="15"/>
                      <a:pt x="185" y="15"/>
                    </a:cubicBezTo>
                    <a:cubicBezTo>
                      <a:pt x="289" y="15"/>
                      <a:pt x="356" y="0"/>
                      <a:pt x="356" y="52"/>
                    </a:cubicBezTo>
                    <a:cubicBezTo>
                      <a:pt x="356" y="96"/>
                      <a:pt x="297" y="163"/>
                      <a:pt x="200" y="163"/>
                    </a:cubicBezTo>
                    <a:cubicBezTo>
                      <a:pt x="89" y="163"/>
                      <a:pt x="0" y="156"/>
                      <a:pt x="0" y="10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142"/>
              <p:cNvSpPr>
                <a:spLocks/>
              </p:cNvSpPr>
              <p:nvPr/>
            </p:nvSpPr>
            <p:spPr bwMode="auto">
              <a:xfrm>
                <a:off x="5655899" y="1922898"/>
                <a:ext cx="79277" cy="42949"/>
              </a:xfrm>
              <a:custGeom>
                <a:avLst/>
                <a:gdLst>
                  <a:gd name="T0" fmla="*/ 17 w 571"/>
                  <a:gd name="T1" fmla="*/ 3 h 304"/>
                  <a:gd name="T2" fmla="*/ 0 w 571"/>
                  <a:gd name="T3" fmla="*/ 14 h 304"/>
                  <a:gd name="T4" fmla="*/ 27 w 571"/>
                  <a:gd name="T5" fmla="*/ 26 h 304"/>
                  <a:gd name="T6" fmla="*/ 48 w 571"/>
                  <a:gd name="T7" fmla="*/ 11 h 304"/>
                  <a:gd name="T8" fmla="*/ 37 w 571"/>
                  <a:gd name="T9" fmla="*/ 0 h 304"/>
                  <a:gd name="T10" fmla="*/ 24 w 571"/>
                  <a:gd name="T11" fmla="*/ 6 h 304"/>
                  <a:gd name="T12" fmla="*/ 17 w 571"/>
                  <a:gd name="T13" fmla="*/ 3 h 3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71" h="304">
                    <a:moveTo>
                      <a:pt x="207" y="37"/>
                    </a:moveTo>
                    <a:cubicBezTo>
                      <a:pt x="96" y="37"/>
                      <a:pt x="0" y="74"/>
                      <a:pt x="0" y="163"/>
                    </a:cubicBezTo>
                    <a:cubicBezTo>
                      <a:pt x="0" y="267"/>
                      <a:pt x="237" y="304"/>
                      <a:pt x="319" y="304"/>
                    </a:cubicBezTo>
                    <a:cubicBezTo>
                      <a:pt x="363" y="304"/>
                      <a:pt x="571" y="193"/>
                      <a:pt x="571" y="126"/>
                    </a:cubicBezTo>
                    <a:cubicBezTo>
                      <a:pt x="571" y="59"/>
                      <a:pt x="475" y="0"/>
                      <a:pt x="437" y="0"/>
                    </a:cubicBezTo>
                    <a:cubicBezTo>
                      <a:pt x="363" y="0"/>
                      <a:pt x="341" y="66"/>
                      <a:pt x="282" y="66"/>
                    </a:cubicBezTo>
                    <a:cubicBezTo>
                      <a:pt x="259" y="66"/>
                      <a:pt x="230" y="37"/>
                      <a:pt x="207" y="37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143"/>
              <p:cNvSpPr>
                <a:spLocks/>
              </p:cNvSpPr>
              <p:nvPr/>
            </p:nvSpPr>
            <p:spPr bwMode="auto">
              <a:xfrm>
                <a:off x="5659202" y="1881601"/>
                <a:ext cx="36335" cy="37993"/>
              </a:xfrm>
              <a:custGeom>
                <a:avLst/>
                <a:gdLst>
                  <a:gd name="T0" fmla="*/ 0 w 260"/>
                  <a:gd name="T1" fmla="*/ 15 h 275"/>
                  <a:gd name="T2" fmla="*/ 6 w 260"/>
                  <a:gd name="T3" fmla="*/ 23 h 275"/>
                  <a:gd name="T4" fmla="*/ 22 w 260"/>
                  <a:gd name="T5" fmla="*/ 9 h 275"/>
                  <a:gd name="T6" fmla="*/ 17 w 260"/>
                  <a:gd name="T7" fmla="*/ 2 h 275"/>
                  <a:gd name="T8" fmla="*/ 0 w 260"/>
                  <a:gd name="T9" fmla="*/ 15 h 2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0" h="275">
                    <a:moveTo>
                      <a:pt x="0" y="179"/>
                    </a:moveTo>
                    <a:cubicBezTo>
                      <a:pt x="0" y="231"/>
                      <a:pt x="44" y="275"/>
                      <a:pt x="74" y="275"/>
                    </a:cubicBezTo>
                    <a:cubicBezTo>
                      <a:pt x="163" y="275"/>
                      <a:pt x="260" y="201"/>
                      <a:pt x="260" y="104"/>
                    </a:cubicBezTo>
                    <a:cubicBezTo>
                      <a:pt x="260" y="45"/>
                      <a:pt x="222" y="0"/>
                      <a:pt x="200" y="23"/>
                    </a:cubicBezTo>
                    <a:cubicBezTo>
                      <a:pt x="126" y="104"/>
                      <a:pt x="0" y="104"/>
                      <a:pt x="0" y="179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144"/>
              <p:cNvSpPr>
                <a:spLocks/>
              </p:cNvSpPr>
              <p:nvPr/>
            </p:nvSpPr>
            <p:spPr bwMode="auto">
              <a:xfrm>
                <a:off x="5474222" y="2020358"/>
                <a:ext cx="90838" cy="112327"/>
              </a:xfrm>
              <a:custGeom>
                <a:avLst/>
                <a:gdLst>
                  <a:gd name="T0" fmla="*/ 35 w 646"/>
                  <a:gd name="T1" fmla="*/ 6 h 794"/>
                  <a:gd name="T2" fmla="*/ 44 w 646"/>
                  <a:gd name="T3" fmla="*/ 2 h 794"/>
                  <a:gd name="T4" fmla="*/ 49 w 646"/>
                  <a:gd name="T5" fmla="*/ 25 h 794"/>
                  <a:gd name="T6" fmla="*/ 33 w 646"/>
                  <a:gd name="T7" fmla="*/ 50 h 794"/>
                  <a:gd name="T8" fmla="*/ 8 w 646"/>
                  <a:gd name="T9" fmla="*/ 68 h 794"/>
                  <a:gd name="T10" fmla="*/ 0 w 646"/>
                  <a:gd name="T11" fmla="*/ 60 h 794"/>
                  <a:gd name="T12" fmla="*/ 15 w 646"/>
                  <a:gd name="T13" fmla="*/ 52 h 794"/>
                  <a:gd name="T14" fmla="*/ 21 w 646"/>
                  <a:gd name="T15" fmla="*/ 39 h 794"/>
                  <a:gd name="T16" fmla="*/ 35 w 646"/>
                  <a:gd name="T17" fmla="*/ 6 h 7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46" h="794">
                    <a:moveTo>
                      <a:pt x="416" y="74"/>
                    </a:moveTo>
                    <a:cubicBezTo>
                      <a:pt x="467" y="178"/>
                      <a:pt x="520" y="22"/>
                      <a:pt x="520" y="22"/>
                    </a:cubicBezTo>
                    <a:cubicBezTo>
                      <a:pt x="646" y="0"/>
                      <a:pt x="579" y="259"/>
                      <a:pt x="579" y="296"/>
                    </a:cubicBezTo>
                    <a:cubicBezTo>
                      <a:pt x="579" y="423"/>
                      <a:pt x="460" y="512"/>
                      <a:pt x="393" y="578"/>
                    </a:cubicBezTo>
                    <a:cubicBezTo>
                      <a:pt x="304" y="668"/>
                      <a:pt x="230" y="764"/>
                      <a:pt x="96" y="794"/>
                    </a:cubicBezTo>
                    <a:cubicBezTo>
                      <a:pt x="37" y="779"/>
                      <a:pt x="0" y="749"/>
                      <a:pt x="0" y="698"/>
                    </a:cubicBezTo>
                    <a:cubicBezTo>
                      <a:pt x="0" y="653"/>
                      <a:pt x="119" y="623"/>
                      <a:pt x="178" y="608"/>
                    </a:cubicBezTo>
                    <a:cubicBezTo>
                      <a:pt x="237" y="593"/>
                      <a:pt x="237" y="489"/>
                      <a:pt x="245" y="460"/>
                    </a:cubicBezTo>
                    <a:cubicBezTo>
                      <a:pt x="289" y="311"/>
                      <a:pt x="245" y="88"/>
                      <a:pt x="416" y="7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145"/>
              <p:cNvSpPr>
                <a:spLocks/>
              </p:cNvSpPr>
              <p:nvPr/>
            </p:nvSpPr>
            <p:spPr bwMode="auto">
              <a:xfrm>
                <a:off x="5574970" y="1955935"/>
                <a:ext cx="52851" cy="52860"/>
              </a:xfrm>
              <a:custGeom>
                <a:avLst/>
                <a:gdLst>
                  <a:gd name="T0" fmla="*/ 7 w 379"/>
                  <a:gd name="T1" fmla="*/ 11 h 378"/>
                  <a:gd name="T2" fmla="*/ 28 w 379"/>
                  <a:gd name="T3" fmla="*/ 4 h 378"/>
                  <a:gd name="T4" fmla="*/ 15 w 379"/>
                  <a:gd name="T5" fmla="*/ 23 h 378"/>
                  <a:gd name="T6" fmla="*/ 4 w 379"/>
                  <a:gd name="T7" fmla="*/ 24 h 378"/>
                  <a:gd name="T8" fmla="*/ 7 w 379"/>
                  <a:gd name="T9" fmla="*/ 11 h 3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79" h="378">
                    <a:moveTo>
                      <a:pt x="82" y="126"/>
                    </a:moveTo>
                    <a:cubicBezTo>
                      <a:pt x="141" y="59"/>
                      <a:pt x="290" y="0"/>
                      <a:pt x="335" y="44"/>
                    </a:cubicBezTo>
                    <a:cubicBezTo>
                      <a:pt x="379" y="89"/>
                      <a:pt x="275" y="274"/>
                      <a:pt x="179" y="267"/>
                    </a:cubicBezTo>
                    <a:cubicBezTo>
                      <a:pt x="223" y="378"/>
                      <a:pt x="90" y="334"/>
                      <a:pt x="45" y="289"/>
                    </a:cubicBezTo>
                    <a:cubicBezTo>
                      <a:pt x="0" y="237"/>
                      <a:pt x="8" y="200"/>
                      <a:pt x="82" y="126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146"/>
              <p:cNvSpPr>
                <a:spLocks/>
              </p:cNvSpPr>
              <p:nvPr/>
            </p:nvSpPr>
            <p:spPr bwMode="auto">
              <a:xfrm>
                <a:off x="5570016" y="2005491"/>
                <a:ext cx="31381" cy="46252"/>
              </a:xfrm>
              <a:custGeom>
                <a:avLst/>
                <a:gdLst>
                  <a:gd name="T0" fmla="*/ 1 w 223"/>
                  <a:gd name="T1" fmla="*/ 20 h 327"/>
                  <a:gd name="T2" fmla="*/ 4 w 223"/>
                  <a:gd name="T3" fmla="*/ 4 h 327"/>
                  <a:gd name="T4" fmla="*/ 18 w 223"/>
                  <a:gd name="T5" fmla="*/ 3 h 327"/>
                  <a:gd name="T6" fmla="*/ 13 w 223"/>
                  <a:gd name="T7" fmla="*/ 25 h 327"/>
                  <a:gd name="T8" fmla="*/ 1 w 223"/>
                  <a:gd name="T9" fmla="*/ 20 h 3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3" h="327">
                    <a:moveTo>
                      <a:pt x="15" y="231"/>
                    </a:moveTo>
                    <a:cubicBezTo>
                      <a:pt x="0" y="201"/>
                      <a:pt x="0" y="82"/>
                      <a:pt x="52" y="45"/>
                    </a:cubicBezTo>
                    <a:cubicBezTo>
                      <a:pt x="111" y="15"/>
                      <a:pt x="185" y="0"/>
                      <a:pt x="207" y="30"/>
                    </a:cubicBezTo>
                    <a:cubicBezTo>
                      <a:pt x="223" y="67"/>
                      <a:pt x="141" y="186"/>
                      <a:pt x="148" y="290"/>
                    </a:cubicBezTo>
                    <a:cubicBezTo>
                      <a:pt x="89" y="327"/>
                      <a:pt x="37" y="268"/>
                      <a:pt x="15" y="231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147"/>
              <p:cNvSpPr>
                <a:spLocks/>
              </p:cNvSpPr>
              <p:nvPr/>
            </p:nvSpPr>
            <p:spPr bwMode="auto">
              <a:xfrm>
                <a:off x="5563409" y="2053395"/>
                <a:ext cx="24774" cy="23126"/>
              </a:xfrm>
              <a:custGeom>
                <a:avLst/>
                <a:gdLst>
                  <a:gd name="T0" fmla="*/ 0 w 178"/>
                  <a:gd name="T1" fmla="*/ 12 h 170"/>
                  <a:gd name="T2" fmla="*/ 8 w 178"/>
                  <a:gd name="T3" fmla="*/ 1 h 170"/>
                  <a:gd name="T4" fmla="*/ 15 w 178"/>
                  <a:gd name="T5" fmla="*/ 2 h 170"/>
                  <a:gd name="T6" fmla="*/ 8 w 178"/>
                  <a:gd name="T7" fmla="*/ 9 h 170"/>
                  <a:gd name="T8" fmla="*/ 0 w 178"/>
                  <a:gd name="T9" fmla="*/ 12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8" h="170">
                    <a:moveTo>
                      <a:pt x="0" y="140"/>
                    </a:moveTo>
                    <a:cubicBezTo>
                      <a:pt x="0" y="111"/>
                      <a:pt x="44" y="14"/>
                      <a:pt x="89" y="14"/>
                    </a:cubicBezTo>
                    <a:cubicBezTo>
                      <a:pt x="126" y="14"/>
                      <a:pt x="178" y="0"/>
                      <a:pt x="178" y="29"/>
                    </a:cubicBezTo>
                    <a:cubicBezTo>
                      <a:pt x="178" y="52"/>
                      <a:pt x="126" y="111"/>
                      <a:pt x="89" y="111"/>
                    </a:cubicBezTo>
                    <a:cubicBezTo>
                      <a:pt x="44" y="111"/>
                      <a:pt x="0" y="170"/>
                      <a:pt x="0" y="140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148"/>
              <p:cNvSpPr>
                <a:spLocks/>
              </p:cNvSpPr>
              <p:nvPr/>
            </p:nvSpPr>
            <p:spPr bwMode="auto">
              <a:xfrm>
                <a:off x="5550196" y="1988972"/>
                <a:ext cx="19819" cy="26430"/>
              </a:xfrm>
              <a:custGeom>
                <a:avLst/>
                <a:gdLst>
                  <a:gd name="T0" fmla="*/ 2 w 149"/>
                  <a:gd name="T1" fmla="*/ 6 h 185"/>
                  <a:gd name="T2" fmla="*/ 8 w 149"/>
                  <a:gd name="T3" fmla="*/ 1 h 185"/>
                  <a:gd name="T4" fmla="*/ 10 w 149"/>
                  <a:gd name="T5" fmla="*/ 8 h 185"/>
                  <a:gd name="T6" fmla="*/ 2 w 149"/>
                  <a:gd name="T7" fmla="*/ 15 h 185"/>
                  <a:gd name="T8" fmla="*/ 2 w 149"/>
                  <a:gd name="T9" fmla="*/ 6 h 1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9" h="185">
                    <a:moveTo>
                      <a:pt x="23" y="74"/>
                    </a:moveTo>
                    <a:cubicBezTo>
                      <a:pt x="37" y="29"/>
                      <a:pt x="82" y="0"/>
                      <a:pt x="97" y="14"/>
                    </a:cubicBezTo>
                    <a:cubicBezTo>
                      <a:pt x="119" y="14"/>
                      <a:pt x="149" y="52"/>
                      <a:pt x="127" y="96"/>
                    </a:cubicBezTo>
                    <a:cubicBezTo>
                      <a:pt x="104" y="148"/>
                      <a:pt x="37" y="185"/>
                      <a:pt x="23" y="178"/>
                    </a:cubicBezTo>
                    <a:cubicBezTo>
                      <a:pt x="0" y="170"/>
                      <a:pt x="0" y="126"/>
                      <a:pt x="23" y="7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149"/>
              <p:cNvSpPr>
                <a:spLocks/>
              </p:cNvSpPr>
              <p:nvPr/>
            </p:nvSpPr>
            <p:spPr bwMode="auto">
              <a:xfrm>
                <a:off x="5631125" y="1937764"/>
                <a:ext cx="14864" cy="26430"/>
              </a:xfrm>
              <a:custGeom>
                <a:avLst/>
                <a:gdLst>
                  <a:gd name="T0" fmla="*/ 1 w 112"/>
                  <a:gd name="T1" fmla="*/ 11 h 185"/>
                  <a:gd name="T2" fmla="*/ 3 w 112"/>
                  <a:gd name="T3" fmla="*/ 0 h 185"/>
                  <a:gd name="T4" fmla="*/ 9 w 112"/>
                  <a:gd name="T5" fmla="*/ 8 h 185"/>
                  <a:gd name="T6" fmla="*/ 6 w 112"/>
                  <a:gd name="T7" fmla="*/ 15 h 185"/>
                  <a:gd name="T8" fmla="*/ 1 w 112"/>
                  <a:gd name="T9" fmla="*/ 11 h 1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2" h="185">
                    <a:moveTo>
                      <a:pt x="8" y="126"/>
                    </a:moveTo>
                    <a:cubicBezTo>
                      <a:pt x="8" y="74"/>
                      <a:pt x="0" y="0"/>
                      <a:pt x="38" y="0"/>
                    </a:cubicBezTo>
                    <a:cubicBezTo>
                      <a:pt x="67" y="0"/>
                      <a:pt x="112" y="29"/>
                      <a:pt x="112" y="89"/>
                    </a:cubicBezTo>
                    <a:cubicBezTo>
                      <a:pt x="112" y="141"/>
                      <a:pt x="112" y="178"/>
                      <a:pt x="75" y="178"/>
                    </a:cubicBezTo>
                    <a:cubicBezTo>
                      <a:pt x="38" y="178"/>
                      <a:pt x="8" y="185"/>
                      <a:pt x="8" y="126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150"/>
              <p:cNvSpPr>
                <a:spLocks/>
              </p:cNvSpPr>
              <p:nvPr/>
            </p:nvSpPr>
            <p:spPr bwMode="auto">
              <a:xfrm>
                <a:off x="5806196" y="2150856"/>
                <a:ext cx="28077" cy="31386"/>
              </a:xfrm>
              <a:custGeom>
                <a:avLst/>
                <a:gdLst>
                  <a:gd name="T0" fmla="*/ 3 w 200"/>
                  <a:gd name="T1" fmla="*/ 10 h 222"/>
                  <a:gd name="T2" fmla="*/ 15 w 200"/>
                  <a:gd name="T3" fmla="*/ 1 h 222"/>
                  <a:gd name="T4" fmla="*/ 9 w 200"/>
                  <a:gd name="T5" fmla="*/ 15 h 222"/>
                  <a:gd name="T6" fmla="*/ 3 w 200"/>
                  <a:gd name="T7" fmla="*/ 17 h 222"/>
                  <a:gd name="T8" fmla="*/ 3 w 200"/>
                  <a:gd name="T9" fmla="*/ 10 h 2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0" h="222">
                    <a:moveTo>
                      <a:pt x="37" y="118"/>
                    </a:moveTo>
                    <a:cubicBezTo>
                      <a:pt x="66" y="66"/>
                      <a:pt x="155" y="0"/>
                      <a:pt x="178" y="14"/>
                    </a:cubicBezTo>
                    <a:cubicBezTo>
                      <a:pt x="200" y="22"/>
                      <a:pt x="141" y="118"/>
                      <a:pt x="111" y="170"/>
                    </a:cubicBezTo>
                    <a:cubicBezTo>
                      <a:pt x="74" y="222"/>
                      <a:pt x="59" y="215"/>
                      <a:pt x="37" y="200"/>
                    </a:cubicBezTo>
                    <a:cubicBezTo>
                      <a:pt x="14" y="185"/>
                      <a:pt x="0" y="170"/>
                      <a:pt x="37" y="11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151"/>
              <p:cNvSpPr>
                <a:spLocks/>
              </p:cNvSpPr>
              <p:nvPr/>
            </p:nvSpPr>
            <p:spPr bwMode="auto">
              <a:xfrm>
                <a:off x="5601396" y="1975757"/>
                <a:ext cx="298941" cy="204832"/>
              </a:xfrm>
              <a:custGeom>
                <a:avLst/>
                <a:gdLst>
                  <a:gd name="T0" fmla="*/ 98 w 2138"/>
                  <a:gd name="T1" fmla="*/ 9 h 1470"/>
                  <a:gd name="T2" fmla="*/ 45 w 2138"/>
                  <a:gd name="T3" fmla="*/ 0 h 1470"/>
                  <a:gd name="T4" fmla="*/ 10 w 2138"/>
                  <a:gd name="T5" fmla="*/ 20 h 1470"/>
                  <a:gd name="T6" fmla="*/ 15 w 2138"/>
                  <a:gd name="T7" fmla="*/ 34 h 1470"/>
                  <a:gd name="T8" fmla="*/ 6 w 2138"/>
                  <a:gd name="T9" fmla="*/ 32 h 1470"/>
                  <a:gd name="T10" fmla="*/ 6 w 2138"/>
                  <a:gd name="T11" fmla="*/ 63 h 1470"/>
                  <a:gd name="T12" fmla="*/ 19 w 2138"/>
                  <a:gd name="T13" fmla="*/ 71 h 1470"/>
                  <a:gd name="T14" fmla="*/ 6 w 2138"/>
                  <a:gd name="T15" fmla="*/ 73 h 1470"/>
                  <a:gd name="T16" fmla="*/ 6 w 2138"/>
                  <a:gd name="T17" fmla="*/ 83 h 1470"/>
                  <a:gd name="T18" fmla="*/ 11 w 2138"/>
                  <a:gd name="T19" fmla="*/ 103 h 1470"/>
                  <a:gd name="T20" fmla="*/ 18 w 2138"/>
                  <a:gd name="T21" fmla="*/ 108 h 1470"/>
                  <a:gd name="T22" fmla="*/ 28 w 2138"/>
                  <a:gd name="T23" fmla="*/ 124 h 1470"/>
                  <a:gd name="T24" fmla="*/ 40 w 2138"/>
                  <a:gd name="T25" fmla="*/ 116 h 1470"/>
                  <a:gd name="T26" fmla="*/ 48 w 2138"/>
                  <a:gd name="T27" fmla="*/ 120 h 1470"/>
                  <a:gd name="T28" fmla="*/ 55 w 2138"/>
                  <a:gd name="T29" fmla="*/ 115 h 1470"/>
                  <a:gd name="T30" fmla="*/ 69 w 2138"/>
                  <a:gd name="T31" fmla="*/ 123 h 1470"/>
                  <a:gd name="T32" fmla="*/ 82 w 2138"/>
                  <a:gd name="T33" fmla="*/ 114 h 1470"/>
                  <a:gd name="T34" fmla="*/ 94 w 2138"/>
                  <a:gd name="T35" fmla="*/ 114 h 1470"/>
                  <a:gd name="T36" fmla="*/ 106 w 2138"/>
                  <a:gd name="T37" fmla="*/ 101 h 1470"/>
                  <a:gd name="T38" fmla="*/ 114 w 2138"/>
                  <a:gd name="T39" fmla="*/ 104 h 1470"/>
                  <a:gd name="T40" fmla="*/ 123 w 2138"/>
                  <a:gd name="T41" fmla="*/ 96 h 1470"/>
                  <a:gd name="T42" fmla="*/ 135 w 2138"/>
                  <a:gd name="T43" fmla="*/ 101 h 1470"/>
                  <a:gd name="T44" fmla="*/ 144 w 2138"/>
                  <a:gd name="T45" fmla="*/ 97 h 1470"/>
                  <a:gd name="T46" fmla="*/ 147 w 2138"/>
                  <a:gd name="T47" fmla="*/ 81 h 1470"/>
                  <a:gd name="T48" fmla="*/ 157 w 2138"/>
                  <a:gd name="T49" fmla="*/ 76 h 1470"/>
                  <a:gd name="T50" fmla="*/ 158 w 2138"/>
                  <a:gd name="T51" fmla="*/ 68 h 1470"/>
                  <a:gd name="T52" fmla="*/ 170 w 2138"/>
                  <a:gd name="T53" fmla="*/ 56 h 1470"/>
                  <a:gd name="T54" fmla="*/ 167 w 2138"/>
                  <a:gd name="T55" fmla="*/ 45 h 1470"/>
                  <a:gd name="T56" fmla="*/ 173 w 2138"/>
                  <a:gd name="T57" fmla="*/ 34 h 1470"/>
                  <a:gd name="T58" fmla="*/ 180 w 2138"/>
                  <a:gd name="T59" fmla="*/ 19 h 1470"/>
                  <a:gd name="T60" fmla="*/ 148 w 2138"/>
                  <a:gd name="T61" fmla="*/ 10 h 1470"/>
                  <a:gd name="T62" fmla="*/ 118 w 2138"/>
                  <a:gd name="T63" fmla="*/ 1 h 1470"/>
                  <a:gd name="T64" fmla="*/ 107 w 2138"/>
                  <a:gd name="T65" fmla="*/ 4 h 1470"/>
                  <a:gd name="T66" fmla="*/ 98 w 2138"/>
                  <a:gd name="T67" fmla="*/ 9 h 147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138" h="1470">
                    <a:moveTo>
                      <a:pt x="1158" y="104"/>
                    </a:moveTo>
                    <a:cubicBezTo>
                      <a:pt x="928" y="104"/>
                      <a:pt x="772" y="0"/>
                      <a:pt x="527" y="0"/>
                    </a:cubicBezTo>
                    <a:cubicBezTo>
                      <a:pt x="312" y="0"/>
                      <a:pt x="119" y="74"/>
                      <a:pt x="119" y="237"/>
                    </a:cubicBezTo>
                    <a:cubicBezTo>
                      <a:pt x="119" y="334"/>
                      <a:pt x="111" y="371"/>
                      <a:pt x="178" y="401"/>
                    </a:cubicBezTo>
                    <a:cubicBezTo>
                      <a:pt x="156" y="482"/>
                      <a:pt x="67" y="378"/>
                      <a:pt x="67" y="378"/>
                    </a:cubicBezTo>
                    <a:cubicBezTo>
                      <a:pt x="0" y="356"/>
                      <a:pt x="67" y="661"/>
                      <a:pt x="67" y="742"/>
                    </a:cubicBezTo>
                    <a:cubicBezTo>
                      <a:pt x="67" y="824"/>
                      <a:pt x="252" y="764"/>
                      <a:pt x="230" y="839"/>
                    </a:cubicBezTo>
                    <a:cubicBezTo>
                      <a:pt x="230" y="839"/>
                      <a:pt x="126" y="876"/>
                      <a:pt x="67" y="861"/>
                    </a:cubicBezTo>
                    <a:lnTo>
                      <a:pt x="67" y="987"/>
                    </a:lnTo>
                    <a:cubicBezTo>
                      <a:pt x="67" y="1054"/>
                      <a:pt x="104" y="1158"/>
                      <a:pt x="126" y="1225"/>
                    </a:cubicBezTo>
                    <a:cubicBezTo>
                      <a:pt x="156" y="1277"/>
                      <a:pt x="201" y="1247"/>
                      <a:pt x="208" y="1284"/>
                    </a:cubicBezTo>
                    <a:cubicBezTo>
                      <a:pt x="223" y="1358"/>
                      <a:pt x="252" y="1470"/>
                      <a:pt x="327" y="1470"/>
                    </a:cubicBezTo>
                    <a:cubicBezTo>
                      <a:pt x="416" y="1470"/>
                      <a:pt x="431" y="1373"/>
                      <a:pt x="475" y="1373"/>
                    </a:cubicBezTo>
                    <a:cubicBezTo>
                      <a:pt x="512" y="1373"/>
                      <a:pt x="512" y="1418"/>
                      <a:pt x="564" y="1418"/>
                    </a:cubicBezTo>
                    <a:cubicBezTo>
                      <a:pt x="624" y="1418"/>
                      <a:pt x="624" y="1388"/>
                      <a:pt x="646" y="1358"/>
                    </a:cubicBezTo>
                    <a:cubicBezTo>
                      <a:pt x="676" y="1410"/>
                      <a:pt x="757" y="1455"/>
                      <a:pt x="817" y="1455"/>
                    </a:cubicBezTo>
                    <a:cubicBezTo>
                      <a:pt x="913" y="1455"/>
                      <a:pt x="928" y="1351"/>
                      <a:pt x="973" y="1351"/>
                    </a:cubicBezTo>
                    <a:cubicBezTo>
                      <a:pt x="1032" y="1351"/>
                      <a:pt x="1032" y="1358"/>
                      <a:pt x="1106" y="1351"/>
                    </a:cubicBezTo>
                    <a:cubicBezTo>
                      <a:pt x="1106" y="1277"/>
                      <a:pt x="1181" y="1202"/>
                      <a:pt x="1255" y="1202"/>
                    </a:cubicBezTo>
                    <a:cubicBezTo>
                      <a:pt x="1299" y="1202"/>
                      <a:pt x="1322" y="1232"/>
                      <a:pt x="1351" y="1232"/>
                    </a:cubicBezTo>
                    <a:cubicBezTo>
                      <a:pt x="1381" y="1232"/>
                      <a:pt x="1448" y="1136"/>
                      <a:pt x="1448" y="1136"/>
                    </a:cubicBezTo>
                    <a:cubicBezTo>
                      <a:pt x="1492" y="1180"/>
                      <a:pt x="1529" y="1195"/>
                      <a:pt x="1589" y="1195"/>
                    </a:cubicBezTo>
                    <a:cubicBezTo>
                      <a:pt x="1648" y="1195"/>
                      <a:pt x="1663" y="1165"/>
                      <a:pt x="1700" y="1151"/>
                    </a:cubicBezTo>
                    <a:cubicBezTo>
                      <a:pt x="1663" y="1076"/>
                      <a:pt x="1737" y="995"/>
                      <a:pt x="1737" y="965"/>
                    </a:cubicBezTo>
                    <a:cubicBezTo>
                      <a:pt x="1737" y="898"/>
                      <a:pt x="1812" y="920"/>
                      <a:pt x="1856" y="898"/>
                    </a:cubicBezTo>
                    <a:cubicBezTo>
                      <a:pt x="1893" y="876"/>
                      <a:pt x="1871" y="839"/>
                      <a:pt x="1871" y="802"/>
                    </a:cubicBezTo>
                    <a:cubicBezTo>
                      <a:pt x="1893" y="735"/>
                      <a:pt x="2012" y="742"/>
                      <a:pt x="2012" y="668"/>
                    </a:cubicBezTo>
                    <a:cubicBezTo>
                      <a:pt x="2012" y="601"/>
                      <a:pt x="1990" y="586"/>
                      <a:pt x="1967" y="534"/>
                    </a:cubicBezTo>
                    <a:cubicBezTo>
                      <a:pt x="1990" y="527"/>
                      <a:pt x="2042" y="453"/>
                      <a:pt x="2042" y="408"/>
                    </a:cubicBezTo>
                    <a:cubicBezTo>
                      <a:pt x="2042" y="274"/>
                      <a:pt x="2138" y="341"/>
                      <a:pt x="2123" y="222"/>
                    </a:cubicBezTo>
                    <a:cubicBezTo>
                      <a:pt x="2108" y="59"/>
                      <a:pt x="1893" y="118"/>
                      <a:pt x="1745" y="118"/>
                    </a:cubicBezTo>
                    <a:cubicBezTo>
                      <a:pt x="1656" y="118"/>
                      <a:pt x="1477" y="15"/>
                      <a:pt x="1389" y="15"/>
                    </a:cubicBezTo>
                    <a:cubicBezTo>
                      <a:pt x="1329" y="15"/>
                      <a:pt x="1299" y="44"/>
                      <a:pt x="1262" y="44"/>
                    </a:cubicBezTo>
                    <a:cubicBezTo>
                      <a:pt x="1262" y="66"/>
                      <a:pt x="1188" y="104"/>
                      <a:pt x="1158" y="10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152"/>
              <p:cNvSpPr>
                <a:spLocks/>
              </p:cNvSpPr>
              <p:nvPr/>
            </p:nvSpPr>
            <p:spPr bwMode="auto">
              <a:xfrm>
                <a:off x="5882169" y="2099648"/>
                <a:ext cx="807636" cy="1085280"/>
              </a:xfrm>
              <a:custGeom>
                <a:avLst/>
                <a:gdLst>
                  <a:gd name="T0" fmla="*/ 157 w 5761"/>
                  <a:gd name="T1" fmla="*/ 651 h 7759"/>
                  <a:gd name="T2" fmla="*/ 133 w 5761"/>
                  <a:gd name="T3" fmla="*/ 607 h 7759"/>
                  <a:gd name="T4" fmla="*/ 101 w 5761"/>
                  <a:gd name="T5" fmla="*/ 565 h 7759"/>
                  <a:gd name="T6" fmla="*/ 117 w 5761"/>
                  <a:gd name="T7" fmla="*/ 524 h 7759"/>
                  <a:gd name="T8" fmla="*/ 128 w 5761"/>
                  <a:gd name="T9" fmla="*/ 486 h 7759"/>
                  <a:gd name="T10" fmla="*/ 83 w 5761"/>
                  <a:gd name="T11" fmla="*/ 464 h 7759"/>
                  <a:gd name="T12" fmla="*/ 62 w 5761"/>
                  <a:gd name="T13" fmla="*/ 440 h 7759"/>
                  <a:gd name="T14" fmla="*/ 70 w 5761"/>
                  <a:gd name="T15" fmla="*/ 417 h 7759"/>
                  <a:gd name="T16" fmla="*/ 58 w 5761"/>
                  <a:gd name="T17" fmla="*/ 306 h 7759"/>
                  <a:gd name="T18" fmla="*/ 0 w 5761"/>
                  <a:gd name="T19" fmla="*/ 283 h 7759"/>
                  <a:gd name="T20" fmla="*/ 61 w 5761"/>
                  <a:gd name="T21" fmla="*/ 245 h 7759"/>
                  <a:gd name="T22" fmla="*/ 101 w 5761"/>
                  <a:gd name="T23" fmla="*/ 197 h 7759"/>
                  <a:gd name="T24" fmla="*/ 139 w 5761"/>
                  <a:gd name="T25" fmla="*/ 124 h 7759"/>
                  <a:gd name="T26" fmla="*/ 171 w 5761"/>
                  <a:gd name="T27" fmla="*/ 52 h 7759"/>
                  <a:gd name="T28" fmla="*/ 178 w 5761"/>
                  <a:gd name="T29" fmla="*/ 0 h 7759"/>
                  <a:gd name="T30" fmla="*/ 198 w 5761"/>
                  <a:gd name="T31" fmla="*/ 8 h 7759"/>
                  <a:gd name="T32" fmla="*/ 210 w 5761"/>
                  <a:gd name="T33" fmla="*/ 14 h 7759"/>
                  <a:gd name="T34" fmla="*/ 224 w 5761"/>
                  <a:gd name="T35" fmla="*/ 21 h 7759"/>
                  <a:gd name="T36" fmla="*/ 243 w 5761"/>
                  <a:gd name="T37" fmla="*/ 33 h 7759"/>
                  <a:gd name="T38" fmla="*/ 292 w 5761"/>
                  <a:gd name="T39" fmla="*/ 69 h 7759"/>
                  <a:gd name="T40" fmla="*/ 296 w 5761"/>
                  <a:gd name="T41" fmla="*/ 99 h 7759"/>
                  <a:gd name="T42" fmla="*/ 297 w 5761"/>
                  <a:gd name="T43" fmla="*/ 125 h 7759"/>
                  <a:gd name="T44" fmla="*/ 313 w 5761"/>
                  <a:gd name="T45" fmla="*/ 96 h 7759"/>
                  <a:gd name="T46" fmla="*/ 364 w 5761"/>
                  <a:gd name="T47" fmla="*/ 109 h 7759"/>
                  <a:gd name="T48" fmla="*/ 459 w 5761"/>
                  <a:gd name="T49" fmla="*/ 132 h 7759"/>
                  <a:gd name="T50" fmla="*/ 489 w 5761"/>
                  <a:gd name="T51" fmla="*/ 128 h 7759"/>
                  <a:gd name="T52" fmla="*/ 454 w 5761"/>
                  <a:gd name="T53" fmla="*/ 174 h 7759"/>
                  <a:gd name="T54" fmla="*/ 422 w 5761"/>
                  <a:gd name="T55" fmla="*/ 206 h 7759"/>
                  <a:gd name="T56" fmla="*/ 407 w 5761"/>
                  <a:gd name="T57" fmla="*/ 248 h 7759"/>
                  <a:gd name="T58" fmla="*/ 411 w 5761"/>
                  <a:gd name="T59" fmla="*/ 296 h 7759"/>
                  <a:gd name="T60" fmla="*/ 406 w 5761"/>
                  <a:gd name="T61" fmla="*/ 384 h 7759"/>
                  <a:gd name="T62" fmla="*/ 331 w 5761"/>
                  <a:gd name="T63" fmla="*/ 406 h 7759"/>
                  <a:gd name="T64" fmla="*/ 277 w 5761"/>
                  <a:gd name="T65" fmla="*/ 446 h 7759"/>
                  <a:gd name="T66" fmla="*/ 207 w 5761"/>
                  <a:gd name="T67" fmla="*/ 504 h 7759"/>
                  <a:gd name="T68" fmla="*/ 176 w 5761"/>
                  <a:gd name="T69" fmla="*/ 560 h 7759"/>
                  <a:gd name="T70" fmla="*/ 184 w 5761"/>
                  <a:gd name="T71" fmla="*/ 632 h 775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761" h="7759">
                    <a:moveTo>
                      <a:pt x="2012" y="7759"/>
                    </a:moveTo>
                    <a:cubicBezTo>
                      <a:pt x="1975" y="7729"/>
                      <a:pt x="1930" y="7692"/>
                      <a:pt x="1849" y="7692"/>
                    </a:cubicBezTo>
                    <a:cubicBezTo>
                      <a:pt x="1611" y="7692"/>
                      <a:pt x="1648" y="7439"/>
                      <a:pt x="1529" y="7365"/>
                    </a:cubicBezTo>
                    <a:cubicBezTo>
                      <a:pt x="1477" y="7343"/>
                      <a:pt x="1537" y="7194"/>
                      <a:pt x="1566" y="7165"/>
                    </a:cubicBezTo>
                    <a:cubicBezTo>
                      <a:pt x="1641" y="7031"/>
                      <a:pt x="1344" y="7083"/>
                      <a:pt x="1329" y="6868"/>
                    </a:cubicBezTo>
                    <a:cubicBezTo>
                      <a:pt x="1329" y="6637"/>
                      <a:pt x="1195" y="6756"/>
                      <a:pt x="1195" y="6675"/>
                    </a:cubicBezTo>
                    <a:cubicBezTo>
                      <a:pt x="1195" y="6548"/>
                      <a:pt x="1292" y="6556"/>
                      <a:pt x="1314" y="6445"/>
                    </a:cubicBezTo>
                    <a:cubicBezTo>
                      <a:pt x="1329" y="6385"/>
                      <a:pt x="1321" y="6251"/>
                      <a:pt x="1381" y="6192"/>
                    </a:cubicBezTo>
                    <a:cubicBezTo>
                      <a:pt x="1485" y="6088"/>
                      <a:pt x="1670" y="6318"/>
                      <a:pt x="1670" y="5888"/>
                    </a:cubicBezTo>
                    <a:cubicBezTo>
                      <a:pt x="1670" y="5799"/>
                      <a:pt x="1626" y="5739"/>
                      <a:pt x="1507" y="5739"/>
                    </a:cubicBezTo>
                    <a:cubicBezTo>
                      <a:pt x="1388" y="5739"/>
                      <a:pt x="1218" y="5813"/>
                      <a:pt x="1173" y="5776"/>
                    </a:cubicBezTo>
                    <a:cubicBezTo>
                      <a:pt x="1136" y="5754"/>
                      <a:pt x="995" y="5606"/>
                      <a:pt x="972" y="5479"/>
                    </a:cubicBezTo>
                    <a:cubicBezTo>
                      <a:pt x="935" y="5368"/>
                      <a:pt x="824" y="5375"/>
                      <a:pt x="809" y="5368"/>
                    </a:cubicBezTo>
                    <a:cubicBezTo>
                      <a:pt x="653" y="5264"/>
                      <a:pt x="921" y="5286"/>
                      <a:pt x="735" y="5197"/>
                    </a:cubicBezTo>
                    <a:cubicBezTo>
                      <a:pt x="720" y="5197"/>
                      <a:pt x="586" y="5175"/>
                      <a:pt x="646" y="5108"/>
                    </a:cubicBezTo>
                    <a:cubicBezTo>
                      <a:pt x="683" y="4982"/>
                      <a:pt x="809" y="5049"/>
                      <a:pt x="824" y="4923"/>
                    </a:cubicBezTo>
                    <a:cubicBezTo>
                      <a:pt x="876" y="4581"/>
                      <a:pt x="898" y="4388"/>
                      <a:pt x="898" y="4069"/>
                    </a:cubicBezTo>
                    <a:cubicBezTo>
                      <a:pt x="898" y="3794"/>
                      <a:pt x="727" y="3616"/>
                      <a:pt x="683" y="3616"/>
                    </a:cubicBezTo>
                    <a:cubicBezTo>
                      <a:pt x="468" y="3594"/>
                      <a:pt x="616" y="3401"/>
                      <a:pt x="304" y="3438"/>
                    </a:cubicBezTo>
                    <a:cubicBezTo>
                      <a:pt x="193" y="3438"/>
                      <a:pt x="97" y="3378"/>
                      <a:pt x="0" y="3341"/>
                    </a:cubicBezTo>
                    <a:cubicBezTo>
                      <a:pt x="119" y="3245"/>
                      <a:pt x="490" y="2948"/>
                      <a:pt x="549" y="2933"/>
                    </a:cubicBezTo>
                    <a:cubicBezTo>
                      <a:pt x="653" y="2896"/>
                      <a:pt x="601" y="2933"/>
                      <a:pt x="720" y="2888"/>
                    </a:cubicBezTo>
                    <a:cubicBezTo>
                      <a:pt x="794" y="2874"/>
                      <a:pt x="906" y="2636"/>
                      <a:pt x="972" y="2577"/>
                    </a:cubicBezTo>
                    <a:cubicBezTo>
                      <a:pt x="1114" y="2421"/>
                      <a:pt x="1054" y="2376"/>
                      <a:pt x="1195" y="2324"/>
                    </a:cubicBezTo>
                    <a:cubicBezTo>
                      <a:pt x="1306" y="2272"/>
                      <a:pt x="1151" y="1990"/>
                      <a:pt x="1507" y="1775"/>
                    </a:cubicBezTo>
                    <a:cubicBezTo>
                      <a:pt x="1596" y="1723"/>
                      <a:pt x="1633" y="1463"/>
                      <a:pt x="1633" y="1463"/>
                    </a:cubicBezTo>
                    <a:cubicBezTo>
                      <a:pt x="1559" y="1166"/>
                      <a:pt x="1841" y="1322"/>
                      <a:pt x="1826" y="929"/>
                    </a:cubicBezTo>
                    <a:cubicBezTo>
                      <a:pt x="1819" y="884"/>
                      <a:pt x="1915" y="951"/>
                      <a:pt x="2012" y="617"/>
                    </a:cubicBezTo>
                    <a:cubicBezTo>
                      <a:pt x="2034" y="528"/>
                      <a:pt x="1900" y="535"/>
                      <a:pt x="1997" y="416"/>
                    </a:cubicBezTo>
                    <a:cubicBezTo>
                      <a:pt x="2071" y="327"/>
                      <a:pt x="2079" y="67"/>
                      <a:pt x="2101" y="0"/>
                    </a:cubicBezTo>
                    <a:cubicBezTo>
                      <a:pt x="2190" y="30"/>
                      <a:pt x="2220" y="90"/>
                      <a:pt x="2272" y="127"/>
                    </a:cubicBezTo>
                    <a:lnTo>
                      <a:pt x="2331" y="90"/>
                    </a:lnTo>
                    <a:cubicBezTo>
                      <a:pt x="2383" y="67"/>
                      <a:pt x="2368" y="142"/>
                      <a:pt x="2376" y="164"/>
                    </a:cubicBezTo>
                    <a:cubicBezTo>
                      <a:pt x="2428" y="135"/>
                      <a:pt x="2405" y="90"/>
                      <a:pt x="2472" y="164"/>
                    </a:cubicBezTo>
                    <a:cubicBezTo>
                      <a:pt x="2509" y="179"/>
                      <a:pt x="2524" y="246"/>
                      <a:pt x="2524" y="246"/>
                    </a:cubicBezTo>
                    <a:cubicBezTo>
                      <a:pt x="2598" y="231"/>
                      <a:pt x="2598" y="246"/>
                      <a:pt x="2643" y="246"/>
                    </a:cubicBezTo>
                    <a:cubicBezTo>
                      <a:pt x="2769" y="246"/>
                      <a:pt x="2621" y="639"/>
                      <a:pt x="2791" y="543"/>
                    </a:cubicBezTo>
                    <a:cubicBezTo>
                      <a:pt x="2836" y="513"/>
                      <a:pt x="2865" y="446"/>
                      <a:pt x="2865" y="387"/>
                    </a:cubicBezTo>
                    <a:cubicBezTo>
                      <a:pt x="3014" y="349"/>
                      <a:pt x="2999" y="431"/>
                      <a:pt x="3081" y="431"/>
                    </a:cubicBezTo>
                    <a:cubicBezTo>
                      <a:pt x="3133" y="431"/>
                      <a:pt x="3274" y="594"/>
                      <a:pt x="3444" y="817"/>
                    </a:cubicBezTo>
                    <a:cubicBezTo>
                      <a:pt x="3526" y="914"/>
                      <a:pt x="3185" y="1137"/>
                      <a:pt x="3333" y="1129"/>
                    </a:cubicBezTo>
                    <a:cubicBezTo>
                      <a:pt x="3563" y="713"/>
                      <a:pt x="3556" y="1240"/>
                      <a:pt x="3489" y="1173"/>
                    </a:cubicBezTo>
                    <a:cubicBezTo>
                      <a:pt x="3467" y="1315"/>
                      <a:pt x="3370" y="1344"/>
                      <a:pt x="3348" y="1478"/>
                    </a:cubicBezTo>
                    <a:cubicBezTo>
                      <a:pt x="3385" y="1522"/>
                      <a:pt x="3444" y="1381"/>
                      <a:pt x="3504" y="1478"/>
                    </a:cubicBezTo>
                    <a:cubicBezTo>
                      <a:pt x="3489" y="1582"/>
                      <a:pt x="3474" y="1634"/>
                      <a:pt x="3489" y="1693"/>
                    </a:cubicBezTo>
                    <a:cubicBezTo>
                      <a:pt x="3623" y="1775"/>
                      <a:pt x="3504" y="1114"/>
                      <a:pt x="3682" y="1137"/>
                    </a:cubicBezTo>
                    <a:cubicBezTo>
                      <a:pt x="3816" y="1077"/>
                      <a:pt x="3660" y="1441"/>
                      <a:pt x="3771" y="1441"/>
                    </a:cubicBezTo>
                    <a:cubicBezTo>
                      <a:pt x="3935" y="1441"/>
                      <a:pt x="3860" y="1248"/>
                      <a:pt x="4283" y="1285"/>
                    </a:cubicBezTo>
                    <a:cubicBezTo>
                      <a:pt x="4454" y="1307"/>
                      <a:pt x="4157" y="1166"/>
                      <a:pt x="4529" y="1173"/>
                    </a:cubicBezTo>
                    <a:cubicBezTo>
                      <a:pt x="4781" y="1188"/>
                      <a:pt x="5256" y="1612"/>
                      <a:pt x="5404" y="1560"/>
                    </a:cubicBezTo>
                    <a:cubicBezTo>
                      <a:pt x="5404" y="1560"/>
                      <a:pt x="5560" y="1619"/>
                      <a:pt x="5664" y="1560"/>
                    </a:cubicBezTo>
                    <a:cubicBezTo>
                      <a:pt x="5701" y="1545"/>
                      <a:pt x="5724" y="1515"/>
                      <a:pt x="5761" y="1515"/>
                    </a:cubicBezTo>
                    <a:cubicBezTo>
                      <a:pt x="5761" y="1552"/>
                      <a:pt x="5754" y="1619"/>
                      <a:pt x="5754" y="1619"/>
                    </a:cubicBezTo>
                    <a:cubicBezTo>
                      <a:pt x="5754" y="1775"/>
                      <a:pt x="5494" y="2020"/>
                      <a:pt x="5345" y="2057"/>
                    </a:cubicBezTo>
                    <a:cubicBezTo>
                      <a:pt x="5249" y="2079"/>
                      <a:pt x="5204" y="2087"/>
                      <a:pt x="5152" y="2109"/>
                    </a:cubicBezTo>
                    <a:cubicBezTo>
                      <a:pt x="4974" y="2161"/>
                      <a:pt x="5056" y="2347"/>
                      <a:pt x="4974" y="2428"/>
                    </a:cubicBezTo>
                    <a:cubicBezTo>
                      <a:pt x="4862" y="2539"/>
                      <a:pt x="4759" y="2554"/>
                      <a:pt x="4759" y="2703"/>
                    </a:cubicBezTo>
                    <a:cubicBezTo>
                      <a:pt x="4759" y="2777"/>
                      <a:pt x="4796" y="2851"/>
                      <a:pt x="4796" y="2933"/>
                    </a:cubicBezTo>
                    <a:cubicBezTo>
                      <a:pt x="4796" y="3007"/>
                      <a:pt x="4744" y="3037"/>
                      <a:pt x="4744" y="3104"/>
                    </a:cubicBezTo>
                    <a:cubicBezTo>
                      <a:pt x="4744" y="3237"/>
                      <a:pt x="4840" y="3334"/>
                      <a:pt x="4840" y="3490"/>
                    </a:cubicBezTo>
                    <a:cubicBezTo>
                      <a:pt x="4840" y="3794"/>
                      <a:pt x="4580" y="3772"/>
                      <a:pt x="4580" y="4069"/>
                    </a:cubicBezTo>
                    <a:cubicBezTo>
                      <a:pt x="4580" y="4358"/>
                      <a:pt x="4788" y="4351"/>
                      <a:pt x="4788" y="4537"/>
                    </a:cubicBezTo>
                    <a:cubicBezTo>
                      <a:pt x="4788" y="4796"/>
                      <a:pt x="4721" y="4893"/>
                      <a:pt x="4425" y="4893"/>
                    </a:cubicBezTo>
                    <a:cubicBezTo>
                      <a:pt x="4291" y="4893"/>
                      <a:pt x="4038" y="4796"/>
                      <a:pt x="3898" y="4796"/>
                    </a:cubicBezTo>
                    <a:cubicBezTo>
                      <a:pt x="3727" y="4796"/>
                      <a:pt x="3652" y="4967"/>
                      <a:pt x="3578" y="5049"/>
                    </a:cubicBezTo>
                    <a:cubicBezTo>
                      <a:pt x="3497" y="5123"/>
                      <a:pt x="3378" y="5249"/>
                      <a:pt x="3259" y="5264"/>
                    </a:cubicBezTo>
                    <a:cubicBezTo>
                      <a:pt x="3007" y="5294"/>
                      <a:pt x="3081" y="5442"/>
                      <a:pt x="2828" y="5442"/>
                    </a:cubicBezTo>
                    <a:cubicBezTo>
                      <a:pt x="2450" y="5442"/>
                      <a:pt x="2494" y="5799"/>
                      <a:pt x="2435" y="5947"/>
                    </a:cubicBezTo>
                    <a:cubicBezTo>
                      <a:pt x="2376" y="6111"/>
                      <a:pt x="2294" y="6103"/>
                      <a:pt x="2279" y="6296"/>
                    </a:cubicBezTo>
                    <a:cubicBezTo>
                      <a:pt x="2257" y="6497"/>
                      <a:pt x="2064" y="6437"/>
                      <a:pt x="2079" y="6615"/>
                    </a:cubicBezTo>
                    <a:cubicBezTo>
                      <a:pt x="2064" y="6838"/>
                      <a:pt x="2182" y="6949"/>
                      <a:pt x="2205" y="7068"/>
                    </a:cubicBezTo>
                    <a:lnTo>
                      <a:pt x="2168" y="7462"/>
                    </a:lnTo>
                    <a:cubicBezTo>
                      <a:pt x="2190" y="7588"/>
                      <a:pt x="2034" y="7655"/>
                      <a:pt x="2012" y="7759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153"/>
              <p:cNvSpPr>
                <a:spLocks/>
              </p:cNvSpPr>
              <p:nvPr/>
            </p:nvSpPr>
            <p:spPr bwMode="auto">
              <a:xfrm>
                <a:off x="5159834" y="4632874"/>
                <a:ext cx="736617" cy="490606"/>
              </a:xfrm>
              <a:custGeom>
                <a:avLst/>
                <a:gdLst>
                  <a:gd name="T0" fmla="*/ 62 w 5263"/>
                  <a:gd name="T1" fmla="*/ 264 h 3512"/>
                  <a:gd name="T2" fmla="*/ 77 w 5263"/>
                  <a:gd name="T3" fmla="*/ 267 h 3512"/>
                  <a:gd name="T4" fmla="*/ 105 w 5263"/>
                  <a:gd name="T5" fmla="*/ 272 h 3512"/>
                  <a:gd name="T6" fmla="*/ 123 w 5263"/>
                  <a:gd name="T7" fmla="*/ 272 h 3512"/>
                  <a:gd name="T8" fmla="*/ 167 w 5263"/>
                  <a:gd name="T9" fmla="*/ 286 h 3512"/>
                  <a:gd name="T10" fmla="*/ 208 w 5263"/>
                  <a:gd name="T11" fmla="*/ 295 h 3512"/>
                  <a:gd name="T12" fmla="*/ 226 w 5263"/>
                  <a:gd name="T13" fmla="*/ 294 h 3512"/>
                  <a:gd name="T14" fmla="*/ 226 w 5263"/>
                  <a:gd name="T15" fmla="*/ 278 h 3512"/>
                  <a:gd name="T16" fmla="*/ 259 w 5263"/>
                  <a:gd name="T17" fmla="*/ 264 h 3512"/>
                  <a:gd name="T18" fmla="*/ 270 w 5263"/>
                  <a:gd name="T19" fmla="*/ 252 h 3512"/>
                  <a:gd name="T20" fmla="*/ 286 w 5263"/>
                  <a:gd name="T21" fmla="*/ 254 h 3512"/>
                  <a:gd name="T22" fmla="*/ 308 w 5263"/>
                  <a:gd name="T23" fmla="*/ 252 h 3512"/>
                  <a:gd name="T24" fmla="*/ 337 w 5263"/>
                  <a:gd name="T25" fmla="*/ 267 h 3512"/>
                  <a:gd name="T26" fmla="*/ 364 w 5263"/>
                  <a:gd name="T27" fmla="*/ 251 h 3512"/>
                  <a:gd name="T28" fmla="*/ 411 w 5263"/>
                  <a:gd name="T29" fmla="*/ 250 h 3512"/>
                  <a:gd name="T30" fmla="*/ 422 w 5263"/>
                  <a:gd name="T31" fmla="*/ 232 h 3512"/>
                  <a:gd name="T32" fmla="*/ 404 w 5263"/>
                  <a:gd name="T33" fmla="*/ 217 h 3512"/>
                  <a:gd name="T34" fmla="*/ 413 w 5263"/>
                  <a:gd name="T35" fmla="*/ 206 h 3512"/>
                  <a:gd name="T36" fmla="*/ 418 w 5263"/>
                  <a:gd name="T37" fmla="*/ 219 h 3512"/>
                  <a:gd name="T38" fmla="*/ 442 w 5263"/>
                  <a:gd name="T39" fmla="*/ 200 h 3512"/>
                  <a:gd name="T40" fmla="*/ 411 w 5263"/>
                  <a:gd name="T41" fmla="*/ 178 h 3512"/>
                  <a:gd name="T42" fmla="*/ 401 w 5263"/>
                  <a:gd name="T43" fmla="*/ 186 h 3512"/>
                  <a:gd name="T44" fmla="*/ 401 w 5263"/>
                  <a:gd name="T45" fmla="*/ 174 h 3512"/>
                  <a:gd name="T46" fmla="*/ 408 w 5263"/>
                  <a:gd name="T47" fmla="*/ 161 h 3512"/>
                  <a:gd name="T48" fmla="*/ 391 w 5263"/>
                  <a:gd name="T49" fmla="*/ 154 h 3512"/>
                  <a:gd name="T50" fmla="*/ 360 w 5263"/>
                  <a:gd name="T51" fmla="*/ 154 h 3512"/>
                  <a:gd name="T52" fmla="*/ 354 w 5263"/>
                  <a:gd name="T53" fmla="*/ 146 h 3512"/>
                  <a:gd name="T54" fmla="*/ 362 w 5263"/>
                  <a:gd name="T55" fmla="*/ 134 h 3512"/>
                  <a:gd name="T56" fmla="*/ 338 w 5263"/>
                  <a:gd name="T57" fmla="*/ 96 h 3512"/>
                  <a:gd name="T58" fmla="*/ 316 w 5263"/>
                  <a:gd name="T59" fmla="*/ 28 h 3512"/>
                  <a:gd name="T60" fmla="*/ 259 w 5263"/>
                  <a:gd name="T61" fmla="*/ 25 h 3512"/>
                  <a:gd name="T62" fmla="*/ 223 w 5263"/>
                  <a:gd name="T63" fmla="*/ 6 h 3512"/>
                  <a:gd name="T64" fmla="*/ 207 w 5263"/>
                  <a:gd name="T65" fmla="*/ 10 h 3512"/>
                  <a:gd name="T66" fmla="*/ 176 w 5263"/>
                  <a:gd name="T67" fmla="*/ 0 h 3512"/>
                  <a:gd name="T68" fmla="*/ 109 w 5263"/>
                  <a:gd name="T69" fmla="*/ 1 h 3512"/>
                  <a:gd name="T70" fmla="*/ 86 w 5263"/>
                  <a:gd name="T71" fmla="*/ 16 h 3512"/>
                  <a:gd name="T72" fmla="*/ 63 w 5263"/>
                  <a:gd name="T73" fmla="*/ 50 h 3512"/>
                  <a:gd name="T74" fmla="*/ 47 w 5263"/>
                  <a:gd name="T75" fmla="*/ 65 h 3512"/>
                  <a:gd name="T76" fmla="*/ 40 w 5263"/>
                  <a:gd name="T77" fmla="*/ 98 h 3512"/>
                  <a:gd name="T78" fmla="*/ 23 w 5263"/>
                  <a:gd name="T79" fmla="*/ 111 h 3512"/>
                  <a:gd name="T80" fmla="*/ 23 w 5263"/>
                  <a:gd name="T81" fmla="*/ 128 h 3512"/>
                  <a:gd name="T82" fmla="*/ 23 w 5263"/>
                  <a:gd name="T83" fmla="*/ 151 h 3512"/>
                  <a:gd name="T84" fmla="*/ 9 w 5263"/>
                  <a:gd name="T85" fmla="*/ 203 h 3512"/>
                  <a:gd name="T86" fmla="*/ 5 w 5263"/>
                  <a:gd name="T87" fmla="*/ 227 h 3512"/>
                  <a:gd name="T88" fmla="*/ 38 w 5263"/>
                  <a:gd name="T89" fmla="*/ 219 h 3512"/>
                  <a:gd name="T90" fmla="*/ 62 w 5263"/>
                  <a:gd name="T91" fmla="*/ 264 h 351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263" h="3512">
                    <a:moveTo>
                      <a:pt x="727" y="3125"/>
                    </a:moveTo>
                    <a:cubicBezTo>
                      <a:pt x="765" y="3163"/>
                      <a:pt x="794" y="3207"/>
                      <a:pt x="906" y="3163"/>
                    </a:cubicBezTo>
                    <a:cubicBezTo>
                      <a:pt x="980" y="3140"/>
                      <a:pt x="1195" y="3177"/>
                      <a:pt x="1240" y="3215"/>
                    </a:cubicBezTo>
                    <a:cubicBezTo>
                      <a:pt x="1344" y="3296"/>
                      <a:pt x="1403" y="3200"/>
                      <a:pt x="1447" y="3215"/>
                    </a:cubicBezTo>
                    <a:cubicBezTo>
                      <a:pt x="1611" y="3304"/>
                      <a:pt x="1863" y="3259"/>
                      <a:pt x="1975" y="3378"/>
                    </a:cubicBezTo>
                    <a:cubicBezTo>
                      <a:pt x="2086" y="3512"/>
                      <a:pt x="2390" y="3415"/>
                      <a:pt x="2457" y="3489"/>
                    </a:cubicBezTo>
                    <a:cubicBezTo>
                      <a:pt x="2487" y="3497"/>
                      <a:pt x="2561" y="3489"/>
                      <a:pt x="2665" y="3482"/>
                    </a:cubicBezTo>
                    <a:cubicBezTo>
                      <a:pt x="2643" y="3408"/>
                      <a:pt x="2665" y="3378"/>
                      <a:pt x="2665" y="3289"/>
                    </a:cubicBezTo>
                    <a:cubicBezTo>
                      <a:pt x="2665" y="3081"/>
                      <a:pt x="2947" y="3192"/>
                      <a:pt x="3058" y="3118"/>
                    </a:cubicBezTo>
                    <a:cubicBezTo>
                      <a:pt x="3096" y="3096"/>
                      <a:pt x="3103" y="2977"/>
                      <a:pt x="3185" y="2977"/>
                    </a:cubicBezTo>
                    <a:cubicBezTo>
                      <a:pt x="3259" y="2977"/>
                      <a:pt x="3289" y="2999"/>
                      <a:pt x="3370" y="2999"/>
                    </a:cubicBezTo>
                    <a:cubicBezTo>
                      <a:pt x="3467" y="2999"/>
                      <a:pt x="3541" y="2999"/>
                      <a:pt x="3630" y="2977"/>
                    </a:cubicBezTo>
                    <a:cubicBezTo>
                      <a:pt x="3816" y="2925"/>
                      <a:pt x="3830" y="3163"/>
                      <a:pt x="3979" y="3163"/>
                    </a:cubicBezTo>
                    <a:cubicBezTo>
                      <a:pt x="4076" y="3163"/>
                      <a:pt x="4150" y="2985"/>
                      <a:pt x="4291" y="2970"/>
                    </a:cubicBezTo>
                    <a:cubicBezTo>
                      <a:pt x="4447" y="2970"/>
                      <a:pt x="4699" y="2985"/>
                      <a:pt x="4847" y="2962"/>
                    </a:cubicBezTo>
                    <a:cubicBezTo>
                      <a:pt x="4862" y="2888"/>
                      <a:pt x="4943" y="2829"/>
                      <a:pt x="4981" y="2740"/>
                    </a:cubicBezTo>
                    <a:cubicBezTo>
                      <a:pt x="5025" y="2628"/>
                      <a:pt x="4728" y="2784"/>
                      <a:pt x="4765" y="2561"/>
                    </a:cubicBezTo>
                    <a:cubicBezTo>
                      <a:pt x="4921" y="2680"/>
                      <a:pt x="4781" y="2391"/>
                      <a:pt x="4877" y="2435"/>
                    </a:cubicBezTo>
                    <a:cubicBezTo>
                      <a:pt x="5078" y="2465"/>
                      <a:pt x="4877" y="2546"/>
                      <a:pt x="4937" y="2591"/>
                    </a:cubicBezTo>
                    <a:cubicBezTo>
                      <a:pt x="5063" y="2554"/>
                      <a:pt x="5263" y="2368"/>
                      <a:pt x="5211" y="2368"/>
                    </a:cubicBezTo>
                    <a:cubicBezTo>
                      <a:pt x="4996" y="2368"/>
                      <a:pt x="5056" y="2131"/>
                      <a:pt x="4848" y="2101"/>
                    </a:cubicBezTo>
                    <a:cubicBezTo>
                      <a:pt x="4833" y="2160"/>
                      <a:pt x="4788" y="2205"/>
                      <a:pt x="4736" y="2205"/>
                    </a:cubicBezTo>
                    <a:lnTo>
                      <a:pt x="4736" y="2057"/>
                    </a:lnTo>
                    <a:cubicBezTo>
                      <a:pt x="4796" y="2004"/>
                      <a:pt x="4803" y="1997"/>
                      <a:pt x="4811" y="1908"/>
                    </a:cubicBezTo>
                    <a:cubicBezTo>
                      <a:pt x="4736" y="1871"/>
                      <a:pt x="4677" y="1871"/>
                      <a:pt x="4610" y="1826"/>
                    </a:cubicBezTo>
                    <a:lnTo>
                      <a:pt x="4254" y="1826"/>
                    </a:lnTo>
                    <a:cubicBezTo>
                      <a:pt x="4217" y="1804"/>
                      <a:pt x="4172" y="1774"/>
                      <a:pt x="4172" y="1730"/>
                    </a:cubicBezTo>
                    <a:cubicBezTo>
                      <a:pt x="4172" y="1693"/>
                      <a:pt x="4254" y="1604"/>
                      <a:pt x="4276" y="1589"/>
                    </a:cubicBezTo>
                    <a:cubicBezTo>
                      <a:pt x="4231" y="1522"/>
                      <a:pt x="3986" y="1180"/>
                      <a:pt x="3986" y="1136"/>
                    </a:cubicBezTo>
                    <a:cubicBezTo>
                      <a:pt x="3986" y="846"/>
                      <a:pt x="4038" y="482"/>
                      <a:pt x="3727" y="334"/>
                    </a:cubicBezTo>
                    <a:cubicBezTo>
                      <a:pt x="3496" y="223"/>
                      <a:pt x="3311" y="349"/>
                      <a:pt x="3058" y="297"/>
                    </a:cubicBezTo>
                    <a:cubicBezTo>
                      <a:pt x="2932" y="275"/>
                      <a:pt x="2754" y="74"/>
                      <a:pt x="2628" y="74"/>
                    </a:cubicBezTo>
                    <a:cubicBezTo>
                      <a:pt x="2561" y="74"/>
                      <a:pt x="2509" y="119"/>
                      <a:pt x="2442" y="119"/>
                    </a:cubicBezTo>
                    <a:cubicBezTo>
                      <a:pt x="2287" y="119"/>
                      <a:pt x="2197" y="0"/>
                      <a:pt x="2079" y="0"/>
                    </a:cubicBezTo>
                    <a:cubicBezTo>
                      <a:pt x="1893" y="0"/>
                      <a:pt x="1589" y="59"/>
                      <a:pt x="1292" y="15"/>
                    </a:cubicBezTo>
                    <a:cubicBezTo>
                      <a:pt x="1240" y="82"/>
                      <a:pt x="1166" y="141"/>
                      <a:pt x="1009" y="193"/>
                    </a:cubicBezTo>
                    <a:cubicBezTo>
                      <a:pt x="816" y="260"/>
                      <a:pt x="816" y="379"/>
                      <a:pt x="742" y="587"/>
                    </a:cubicBezTo>
                    <a:cubicBezTo>
                      <a:pt x="720" y="676"/>
                      <a:pt x="623" y="668"/>
                      <a:pt x="557" y="765"/>
                    </a:cubicBezTo>
                    <a:cubicBezTo>
                      <a:pt x="490" y="869"/>
                      <a:pt x="512" y="1039"/>
                      <a:pt x="475" y="1158"/>
                    </a:cubicBezTo>
                    <a:cubicBezTo>
                      <a:pt x="445" y="1255"/>
                      <a:pt x="341" y="1232"/>
                      <a:pt x="275" y="1314"/>
                    </a:cubicBezTo>
                    <a:cubicBezTo>
                      <a:pt x="275" y="1314"/>
                      <a:pt x="215" y="1411"/>
                      <a:pt x="275" y="1515"/>
                    </a:cubicBezTo>
                    <a:cubicBezTo>
                      <a:pt x="371" y="1626"/>
                      <a:pt x="275" y="1700"/>
                      <a:pt x="267" y="1789"/>
                    </a:cubicBezTo>
                    <a:cubicBezTo>
                      <a:pt x="178" y="2435"/>
                      <a:pt x="178" y="2353"/>
                      <a:pt x="104" y="2405"/>
                    </a:cubicBezTo>
                    <a:cubicBezTo>
                      <a:pt x="0" y="2480"/>
                      <a:pt x="22" y="2665"/>
                      <a:pt x="59" y="2680"/>
                    </a:cubicBezTo>
                    <a:cubicBezTo>
                      <a:pt x="141" y="2717"/>
                      <a:pt x="238" y="2576"/>
                      <a:pt x="453" y="2591"/>
                    </a:cubicBezTo>
                    <a:cubicBezTo>
                      <a:pt x="542" y="2606"/>
                      <a:pt x="683" y="2925"/>
                      <a:pt x="727" y="3125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154"/>
              <p:cNvSpPr>
                <a:spLocks/>
              </p:cNvSpPr>
              <p:nvPr/>
            </p:nvSpPr>
            <p:spPr bwMode="auto">
              <a:xfrm>
                <a:off x="2866334" y="1678420"/>
                <a:ext cx="2064510" cy="1476774"/>
              </a:xfrm>
              <a:custGeom>
                <a:avLst/>
                <a:gdLst>
                  <a:gd name="T0" fmla="*/ 1122 w 14744"/>
                  <a:gd name="T1" fmla="*/ 722 h 10542"/>
                  <a:gd name="T2" fmla="*/ 1117 w 14744"/>
                  <a:gd name="T3" fmla="*/ 750 h 10542"/>
                  <a:gd name="T4" fmla="*/ 1110 w 14744"/>
                  <a:gd name="T5" fmla="*/ 799 h 10542"/>
                  <a:gd name="T6" fmla="*/ 890 w 14744"/>
                  <a:gd name="T7" fmla="*/ 805 h 10542"/>
                  <a:gd name="T8" fmla="*/ 823 w 14744"/>
                  <a:gd name="T9" fmla="*/ 783 h 10542"/>
                  <a:gd name="T10" fmla="*/ 735 w 14744"/>
                  <a:gd name="T11" fmla="*/ 750 h 10542"/>
                  <a:gd name="T12" fmla="*/ 704 w 14744"/>
                  <a:gd name="T13" fmla="*/ 783 h 10542"/>
                  <a:gd name="T14" fmla="*/ 667 w 14744"/>
                  <a:gd name="T15" fmla="*/ 823 h 10542"/>
                  <a:gd name="T16" fmla="*/ 583 w 14744"/>
                  <a:gd name="T17" fmla="*/ 866 h 10542"/>
                  <a:gd name="T18" fmla="*/ 499 w 14744"/>
                  <a:gd name="T19" fmla="*/ 894 h 10542"/>
                  <a:gd name="T20" fmla="*/ 208 w 14744"/>
                  <a:gd name="T21" fmla="*/ 780 h 10542"/>
                  <a:gd name="T22" fmla="*/ 0 w 14744"/>
                  <a:gd name="T23" fmla="*/ 728 h 10542"/>
                  <a:gd name="T24" fmla="*/ 40 w 14744"/>
                  <a:gd name="T25" fmla="*/ 653 h 10542"/>
                  <a:gd name="T26" fmla="*/ 57 w 14744"/>
                  <a:gd name="T27" fmla="*/ 589 h 10542"/>
                  <a:gd name="T28" fmla="*/ 187 w 14744"/>
                  <a:gd name="T29" fmla="*/ 522 h 10542"/>
                  <a:gd name="T30" fmla="*/ 261 w 14744"/>
                  <a:gd name="T31" fmla="*/ 516 h 10542"/>
                  <a:gd name="T32" fmla="*/ 283 w 14744"/>
                  <a:gd name="T33" fmla="*/ 252 h 10542"/>
                  <a:gd name="T34" fmla="*/ 251 w 14744"/>
                  <a:gd name="T35" fmla="*/ 213 h 10542"/>
                  <a:gd name="T36" fmla="*/ 266 w 14744"/>
                  <a:gd name="T37" fmla="*/ 156 h 10542"/>
                  <a:gd name="T38" fmla="*/ 293 w 14744"/>
                  <a:gd name="T39" fmla="*/ 144 h 10542"/>
                  <a:gd name="T40" fmla="*/ 314 w 14744"/>
                  <a:gd name="T41" fmla="*/ 152 h 10542"/>
                  <a:gd name="T42" fmla="*/ 264 w 14744"/>
                  <a:gd name="T43" fmla="*/ 121 h 10542"/>
                  <a:gd name="T44" fmla="*/ 308 w 14744"/>
                  <a:gd name="T45" fmla="*/ 72 h 10542"/>
                  <a:gd name="T46" fmla="*/ 377 w 14744"/>
                  <a:gd name="T47" fmla="*/ 57 h 10542"/>
                  <a:gd name="T48" fmla="*/ 406 w 14744"/>
                  <a:gd name="T49" fmla="*/ 68 h 10542"/>
                  <a:gd name="T50" fmla="*/ 466 w 14744"/>
                  <a:gd name="T51" fmla="*/ 76 h 10542"/>
                  <a:gd name="T52" fmla="*/ 482 w 14744"/>
                  <a:gd name="T53" fmla="*/ 104 h 10542"/>
                  <a:gd name="T54" fmla="*/ 572 w 14744"/>
                  <a:gd name="T55" fmla="*/ 116 h 10542"/>
                  <a:gd name="T56" fmla="*/ 599 w 14744"/>
                  <a:gd name="T57" fmla="*/ 119 h 10542"/>
                  <a:gd name="T58" fmla="*/ 629 w 14744"/>
                  <a:gd name="T59" fmla="*/ 94 h 10542"/>
                  <a:gd name="T60" fmla="*/ 668 w 14744"/>
                  <a:gd name="T61" fmla="*/ 78 h 10542"/>
                  <a:gd name="T62" fmla="*/ 691 w 14744"/>
                  <a:gd name="T63" fmla="*/ 43 h 10542"/>
                  <a:gd name="T64" fmla="*/ 733 w 14744"/>
                  <a:gd name="T65" fmla="*/ 27 h 10542"/>
                  <a:gd name="T66" fmla="*/ 774 w 14744"/>
                  <a:gd name="T67" fmla="*/ 58 h 10542"/>
                  <a:gd name="T68" fmla="*/ 801 w 14744"/>
                  <a:gd name="T69" fmla="*/ 146 h 10542"/>
                  <a:gd name="T70" fmla="*/ 808 w 14744"/>
                  <a:gd name="T71" fmla="*/ 221 h 10542"/>
                  <a:gd name="T72" fmla="*/ 842 w 14744"/>
                  <a:gd name="T73" fmla="*/ 261 h 10542"/>
                  <a:gd name="T74" fmla="*/ 906 w 14744"/>
                  <a:gd name="T75" fmla="*/ 205 h 10542"/>
                  <a:gd name="T76" fmla="*/ 957 w 14744"/>
                  <a:gd name="T77" fmla="*/ 216 h 10542"/>
                  <a:gd name="T78" fmla="*/ 982 w 14744"/>
                  <a:gd name="T79" fmla="*/ 167 h 10542"/>
                  <a:gd name="T80" fmla="*/ 1069 w 14744"/>
                  <a:gd name="T81" fmla="*/ 149 h 10542"/>
                  <a:gd name="T82" fmla="*/ 1102 w 14744"/>
                  <a:gd name="T83" fmla="*/ 251 h 10542"/>
                  <a:gd name="T84" fmla="*/ 1125 w 14744"/>
                  <a:gd name="T85" fmla="*/ 283 h 10542"/>
                  <a:gd name="T86" fmla="*/ 1175 w 14744"/>
                  <a:gd name="T87" fmla="*/ 289 h 10542"/>
                  <a:gd name="T88" fmla="*/ 1238 w 14744"/>
                  <a:gd name="T89" fmla="*/ 322 h 10542"/>
                  <a:gd name="T90" fmla="*/ 1112 w 14744"/>
                  <a:gd name="T91" fmla="*/ 647 h 10542"/>
                  <a:gd name="T92" fmla="*/ 1127 w 14744"/>
                  <a:gd name="T93" fmla="*/ 694 h 1054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4744" h="10542">
                    <a:moveTo>
                      <a:pt x="13297" y="8188"/>
                    </a:moveTo>
                    <a:cubicBezTo>
                      <a:pt x="13267" y="8233"/>
                      <a:pt x="13297" y="8389"/>
                      <a:pt x="13237" y="8508"/>
                    </a:cubicBezTo>
                    <a:cubicBezTo>
                      <a:pt x="13222" y="8537"/>
                      <a:pt x="13089" y="8575"/>
                      <a:pt x="13089" y="8634"/>
                    </a:cubicBezTo>
                    <a:cubicBezTo>
                      <a:pt x="13089" y="8723"/>
                      <a:pt x="13178" y="8760"/>
                      <a:pt x="13178" y="8842"/>
                    </a:cubicBezTo>
                    <a:cubicBezTo>
                      <a:pt x="13178" y="8938"/>
                      <a:pt x="13133" y="8975"/>
                      <a:pt x="13089" y="9072"/>
                    </a:cubicBezTo>
                    <a:lnTo>
                      <a:pt x="13089" y="9421"/>
                    </a:lnTo>
                    <a:cubicBezTo>
                      <a:pt x="13066" y="9436"/>
                      <a:pt x="13022" y="9465"/>
                      <a:pt x="12992" y="9495"/>
                    </a:cubicBezTo>
                    <a:lnTo>
                      <a:pt x="10498" y="9495"/>
                    </a:lnTo>
                    <a:cubicBezTo>
                      <a:pt x="10468" y="9451"/>
                      <a:pt x="10230" y="9391"/>
                      <a:pt x="10156" y="9406"/>
                    </a:cubicBezTo>
                    <a:cubicBezTo>
                      <a:pt x="9986" y="9428"/>
                      <a:pt x="10008" y="9309"/>
                      <a:pt x="9703" y="9228"/>
                    </a:cubicBezTo>
                    <a:cubicBezTo>
                      <a:pt x="9458" y="9161"/>
                      <a:pt x="9354" y="8819"/>
                      <a:pt x="9310" y="8819"/>
                    </a:cubicBezTo>
                    <a:cubicBezTo>
                      <a:pt x="9139" y="8819"/>
                      <a:pt x="8842" y="8842"/>
                      <a:pt x="8672" y="8842"/>
                    </a:cubicBezTo>
                    <a:cubicBezTo>
                      <a:pt x="8672" y="8931"/>
                      <a:pt x="8560" y="9005"/>
                      <a:pt x="8560" y="9035"/>
                    </a:cubicBezTo>
                    <a:cubicBezTo>
                      <a:pt x="8605" y="9176"/>
                      <a:pt x="8315" y="9064"/>
                      <a:pt x="8300" y="9228"/>
                    </a:cubicBezTo>
                    <a:cubicBezTo>
                      <a:pt x="8293" y="9339"/>
                      <a:pt x="8256" y="9295"/>
                      <a:pt x="8256" y="9391"/>
                    </a:cubicBezTo>
                    <a:cubicBezTo>
                      <a:pt x="8256" y="9643"/>
                      <a:pt x="8048" y="9673"/>
                      <a:pt x="7862" y="9703"/>
                    </a:cubicBezTo>
                    <a:cubicBezTo>
                      <a:pt x="7491" y="9762"/>
                      <a:pt x="7424" y="10178"/>
                      <a:pt x="7313" y="10111"/>
                    </a:cubicBezTo>
                    <a:cubicBezTo>
                      <a:pt x="7179" y="10037"/>
                      <a:pt x="7083" y="10267"/>
                      <a:pt x="6882" y="10208"/>
                    </a:cubicBezTo>
                    <a:cubicBezTo>
                      <a:pt x="6801" y="10185"/>
                      <a:pt x="6801" y="10134"/>
                      <a:pt x="6645" y="10111"/>
                    </a:cubicBezTo>
                    <a:cubicBezTo>
                      <a:pt x="6251" y="10074"/>
                      <a:pt x="6311" y="10356"/>
                      <a:pt x="5887" y="10542"/>
                    </a:cubicBezTo>
                    <a:cubicBezTo>
                      <a:pt x="4997" y="10267"/>
                      <a:pt x="4135" y="9874"/>
                      <a:pt x="3608" y="9621"/>
                    </a:cubicBezTo>
                    <a:cubicBezTo>
                      <a:pt x="3081" y="9369"/>
                      <a:pt x="2933" y="9250"/>
                      <a:pt x="2450" y="9198"/>
                    </a:cubicBezTo>
                    <a:cubicBezTo>
                      <a:pt x="2257" y="9176"/>
                      <a:pt x="1901" y="9064"/>
                      <a:pt x="1181" y="8975"/>
                    </a:cubicBezTo>
                    <a:cubicBezTo>
                      <a:pt x="668" y="8909"/>
                      <a:pt x="357" y="8567"/>
                      <a:pt x="0" y="8582"/>
                    </a:cubicBezTo>
                    <a:cubicBezTo>
                      <a:pt x="0" y="8196"/>
                      <a:pt x="550" y="8226"/>
                      <a:pt x="490" y="7958"/>
                    </a:cubicBezTo>
                    <a:cubicBezTo>
                      <a:pt x="461" y="7936"/>
                      <a:pt x="468" y="7780"/>
                      <a:pt x="468" y="7698"/>
                    </a:cubicBezTo>
                    <a:cubicBezTo>
                      <a:pt x="468" y="7528"/>
                      <a:pt x="646" y="7520"/>
                      <a:pt x="646" y="7357"/>
                    </a:cubicBezTo>
                    <a:cubicBezTo>
                      <a:pt x="646" y="7208"/>
                      <a:pt x="587" y="7134"/>
                      <a:pt x="668" y="6941"/>
                    </a:cubicBezTo>
                    <a:cubicBezTo>
                      <a:pt x="728" y="6763"/>
                      <a:pt x="921" y="6800"/>
                      <a:pt x="1010" y="6689"/>
                    </a:cubicBezTo>
                    <a:cubicBezTo>
                      <a:pt x="1240" y="6399"/>
                      <a:pt x="1737" y="6154"/>
                      <a:pt x="2205" y="6154"/>
                    </a:cubicBezTo>
                    <a:cubicBezTo>
                      <a:pt x="2354" y="6162"/>
                      <a:pt x="2279" y="5939"/>
                      <a:pt x="2562" y="5932"/>
                    </a:cubicBezTo>
                    <a:cubicBezTo>
                      <a:pt x="2925" y="5887"/>
                      <a:pt x="2977" y="6229"/>
                      <a:pt x="3081" y="6080"/>
                    </a:cubicBezTo>
                    <a:cubicBezTo>
                      <a:pt x="3193" y="5590"/>
                      <a:pt x="3527" y="3460"/>
                      <a:pt x="3527" y="3460"/>
                    </a:cubicBezTo>
                    <a:cubicBezTo>
                      <a:pt x="3564" y="3147"/>
                      <a:pt x="3334" y="3147"/>
                      <a:pt x="3334" y="2977"/>
                    </a:cubicBezTo>
                    <a:cubicBezTo>
                      <a:pt x="3334" y="2962"/>
                      <a:pt x="3371" y="2955"/>
                      <a:pt x="3371" y="2880"/>
                    </a:cubicBezTo>
                    <a:cubicBezTo>
                      <a:pt x="3371" y="2754"/>
                      <a:pt x="3044" y="2591"/>
                      <a:pt x="2962" y="2509"/>
                    </a:cubicBezTo>
                    <a:cubicBezTo>
                      <a:pt x="2940" y="2487"/>
                      <a:pt x="2933" y="1908"/>
                      <a:pt x="2955" y="1871"/>
                    </a:cubicBezTo>
                    <a:cubicBezTo>
                      <a:pt x="2992" y="1863"/>
                      <a:pt x="3096" y="1886"/>
                      <a:pt x="3133" y="1834"/>
                    </a:cubicBezTo>
                    <a:cubicBezTo>
                      <a:pt x="3170" y="1811"/>
                      <a:pt x="3215" y="1752"/>
                      <a:pt x="3274" y="1767"/>
                    </a:cubicBezTo>
                    <a:cubicBezTo>
                      <a:pt x="3356" y="1796"/>
                      <a:pt x="3430" y="1700"/>
                      <a:pt x="3452" y="1700"/>
                    </a:cubicBezTo>
                    <a:cubicBezTo>
                      <a:pt x="3527" y="1707"/>
                      <a:pt x="3467" y="1745"/>
                      <a:pt x="3527" y="1796"/>
                    </a:cubicBezTo>
                    <a:cubicBezTo>
                      <a:pt x="3608" y="1886"/>
                      <a:pt x="3705" y="1796"/>
                      <a:pt x="3705" y="1796"/>
                    </a:cubicBezTo>
                    <a:cubicBezTo>
                      <a:pt x="3742" y="1707"/>
                      <a:pt x="3742" y="1425"/>
                      <a:pt x="3542" y="1440"/>
                    </a:cubicBezTo>
                    <a:cubicBezTo>
                      <a:pt x="3415" y="1447"/>
                      <a:pt x="3274" y="1425"/>
                      <a:pt x="3118" y="1425"/>
                    </a:cubicBezTo>
                    <a:cubicBezTo>
                      <a:pt x="3104" y="1425"/>
                      <a:pt x="3118" y="980"/>
                      <a:pt x="3118" y="883"/>
                    </a:cubicBezTo>
                    <a:cubicBezTo>
                      <a:pt x="3118" y="861"/>
                      <a:pt x="3334" y="779"/>
                      <a:pt x="3631" y="846"/>
                    </a:cubicBezTo>
                    <a:cubicBezTo>
                      <a:pt x="3742" y="883"/>
                      <a:pt x="4195" y="824"/>
                      <a:pt x="4447" y="824"/>
                    </a:cubicBezTo>
                    <a:cubicBezTo>
                      <a:pt x="4544" y="824"/>
                      <a:pt x="4447" y="705"/>
                      <a:pt x="4447" y="668"/>
                    </a:cubicBezTo>
                    <a:cubicBezTo>
                      <a:pt x="4447" y="646"/>
                      <a:pt x="4469" y="601"/>
                      <a:pt x="4507" y="601"/>
                    </a:cubicBezTo>
                    <a:cubicBezTo>
                      <a:pt x="4707" y="579"/>
                      <a:pt x="4566" y="824"/>
                      <a:pt x="4789" y="802"/>
                    </a:cubicBezTo>
                    <a:cubicBezTo>
                      <a:pt x="4915" y="742"/>
                      <a:pt x="4997" y="446"/>
                      <a:pt x="5167" y="446"/>
                    </a:cubicBezTo>
                    <a:cubicBezTo>
                      <a:pt x="5264" y="446"/>
                      <a:pt x="5449" y="779"/>
                      <a:pt x="5494" y="898"/>
                    </a:cubicBezTo>
                    <a:cubicBezTo>
                      <a:pt x="5516" y="958"/>
                      <a:pt x="5479" y="1210"/>
                      <a:pt x="5494" y="1232"/>
                    </a:cubicBezTo>
                    <a:cubicBezTo>
                      <a:pt x="5546" y="1277"/>
                      <a:pt x="5628" y="1188"/>
                      <a:pt x="5687" y="1225"/>
                    </a:cubicBezTo>
                    <a:cubicBezTo>
                      <a:pt x="5873" y="1351"/>
                      <a:pt x="6073" y="1544"/>
                      <a:pt x="6184" y="1566"/>
                    </a:cubicBezTo>
                    <a:cubicBezTo>
                      <a:pt x="6429" y="1626"/>
                      <a:pt x="6615" y="1344"/>
                      <a:pt x="6749" y="1373"/>
                    </a:cubicBezTo>
                    <a:cubicBezTo>
                      <a:pt x="6838" y="1447"/>
                      <a:pt x="6726" y="1551"/>
                      <a:pt x="6830" y="1633"/>
                    </a:cubicBezTo>
                    <a:cubicBezTo>
                      <a:pt x="6934" y="1648"/>
                      <a:pt x="6882" y="1447"/>
                      <a:pt x="7068" y="1403"/>
                    </a:cubicBezTo>
                    <a:cubicBezTo>
                      <a:pt x="7142" y="1403"/>
                      <a:pt x="7157" y="1292"/>
                      <a:pt x="7172" y="1232"/>
                    </a:cubicBezTo>
                    <a:cubicBezTo>
                      <a:pt x="7291" y="1232"/>
                      <a:pt x="7335" y="1136"/>
                      <a:pt x="7424" y="1113"/>
                    </a:cubicBezTo>
                    <a:cubicBezTo>
                      <a:pt x="7595" y="1113"/>
                      <a:pt x="7647" y="1017"/>
                      <a:pt x="7751" y="920"/>
                    </a:cubicBezTo>
                    <a:cubicBezTo>
                      <a:pt x="7803" y="883"/>
                      <a:pt x="7803" y="1047"/>
                      <a:pt x="7877" y="920"/>
                    </a:cubicBezTo>
                    <a:cubicBezTo>
                      <a:pt x="7884" y="913"/>
                      <a:pt x="8077" y="839"/>
                      <a:pt x="8077" y="757"/>
                    </a:cubicBezTo>
                    <a:cubicBezTo>
                      <a:pt x="8077" y="638"/>
                      <a:pt x="8055" y="527"/>
                      <a:pt x="8152" y="505"/>
                    </a:cubicBezTo>
                    <a:cubicBezTo>
                      <a:pt x="8293" y="534"/>
                      <a:pt x="8412" y="371"/>
                      <a:pt x="8508" y="319"/>
                    </a:cubicBezTo>
                    <a:lnTo>
                      <a:pt x="8642" y="319"/>
                    </a:lnTo>
                    <a:cubicBezTo>
                      <a:pt x="8664" y="297"/>
                      <a:pt x="8694" y="193"/>
                      <a:pt x="8686" y="170"/>
                    </a:cubicBezTo>
                    <a:cubicBezTo>
                      <a:pt x="8627" y="0"/>
                      <a:pt x="9117" y="586"/>
                      <a:pt x="9132" y="683"/>
                    </a:cubicBezTo>
                    <a:cubicBezTo>
                      <a:pt x="9161" y="839"/>
                      <a:pt x="9310" y="846"/>
                      <a:pt x="9332" y="958"/>
                    </a:cubicBezTo>
                    <a:cubicBezTo>
                      <a:pt x="9377" y="1232"/>
                      <a:pt x="9510" y="1128"/>
                      <a:pt x="9443" y="1722"/>
                    </a:cubicBezTo>
                    <a:cubicBezTo>
                      <a:pt x="9451" y="1863"/>
                      <a:pt x="9532" y="2056"/>
                      <a:pt x="9518" y="2212"/>
                    </a:cubicBezTo>
                    <a:cubicBezTo>
                      <a:pt x="9503" y="2353"/>
                      <a:pt x="9696" y="2569"/>
                      <a:pt x="9525" y="2606"/>
                    </a:cubicBezTo>
                    <a:cubicBezTo>
                      <a:pt x="9384" y="2598"/>
                      <a:pt x="9421" y="2710"/>
                      <a:pt x="9532" y="2747"/>
                    </a:cubicBezTo>
                    <a:cubicBezTo>
                      <a:pt x="9748" y="2843"/>
                      <a:pt x="9926" y="3081"/>
                      <a:pt x="9926" y="3081"/>
                    </a:cubicBezTo>
                    <a:cubicBezTo>
                      <a:pt x="10134" y="3252"/>
                      <a:pt x="10253" y="3147"/>
                      <a:pt x="10253" y="2940"/>
                    </a:cubicBezTo>
                    <a:cubicBezTo>
                      <a:pt x="10171" y="2524"/>
                      <a:pt x="10475" y="2420"/>
                      <a:pt x="10683" y="2420"/>
                    </a:cubicBezTo>
                    <a:cubicBezTo>
                      <a:pt x="10817" y="2390"/>
                      <a:pt x="10861" y="2710"/>
                      <a:pt x="11032" y="2725"/>
                    </a:cubicBezTo>
                    <a:cubicBezTo>
                      <a:pt x="11173" y="2739"/>
                      <a:pt x="11285" y="2546"/>
                      <a:pt x="11285" y="2546"/>
                    </a:cubicBezTo>
                    <a:cubicBezTo>
                      <a:pt x="11270" y="2680"/>
                      <a:pt x="11270" y="2331"/>
                      <a:pt x="11403" y="2249"/>
                    </a:cubicBezTo>
                    <a:cubicBezTo>
                      <a:pt x="11530" y="2205"/>
                      <a:pt x="11552" y="2138"/>
                      <a:pt x="11582" y="1975"/>
                    </a:cubicBezTo>
                    <a:cubicBezTo>
                      <a:pt x="11604" y="1863"/>
                      <a:pt x="11745" y="1745"/>
                      <a:pt x="11930" y="1767"/>
                    </a:cubicBezTo>
                    <a:cubicBezTo>
                      <a:pt x="12116" y="1737"/>
                      <a:pt x="12606" y="1760"/>
                      <a:pt x="12606" y="1760"/>
                    </a:cubicBezTo>
                    <a:cubicBezTo>
                      <a:pt x="12606" y="1760"/>
                      <a:pt x="12680" y="2405"/>
                      <a:pt x="12703" y="2450"/>
                    </a:cubicBezTo>
                    <a:cubicBezTo>
                      <a:pt x="12740" y="2509"/>
                      <a:pt x="13000" y="2955"/>
                      <a:pt x="13000" y="2955"/>
                    </a:cubicBezTo>
                    <a:cubicBezTo>
                      <a:pt x="13000" y="2955"/>
                      <a:pt x="13014" y="3147"/>
                      <a:pt x="13155" y="3141"/>
                    </a:cubicBezTo>
                    <a:cubicBezTo>
                      <a:pt x="13215" y="3207"/>
                      <a:pt x="13267" y="3333"/>
                      <a:pt x="13267" y="3333"/>
                    </a:cubicBezTo>
                    <a:cubicBezTo>
                      <a:pt x="13356" y="3437"/>
                      <a:pt x="13415" y="3355"/>
                      <a:pt x="13541" y="3385"/>
                    </a:cubicBezTo>
                    <a:cubicBezTo>
                      <a:pt x="13660" y="3408"/>
                      <a:pt x="13749" y="3497"/>
                      <a:pt x="13861" y="3408"/>
                    </a:cubicBezTo>
                    <a:cubicBezTo>
                      <a:pt x="14091" y="3408"/>
                      <a:pt x="14291" y="3638"/>
                      <a:pt x="14291" y="3638"/>
                    </a:cubicBezTo>
                    <a:cubicBezTo>
                      <a:pt x="14507" y="3682"/>
                      <a:pt x="14410" y="3816"/>
                      <a:pt x="14603" y="3801"/>
                    </a:cubicBezTo>
                    <a:cubicBezTo>
                      <a:pt x="14744" y="3779"/>
                      <a:pt x="14722" y="4009"/>
                      <a:pt x="14722" y="4009"/>
                    </a:cubicBezTo>
                    <a:lnTo>
                      <a:pt x="13111" y="7624"/>
                    </a:lnTo>
                    <a:cubicBezTo>
                      <a:pt x="13111" y="7624"/>
                      <a:pt x="13022" y="7780"/>
                      <a:pt x="13111" y="7817"/>
                    </a:cubicBezTo>
                    <a:cubicBezTo>
                      <a:pt x="13274" y="7877"/>
                      <a:pt x="13334" y="8136"/>
                      <a:pt x="13297" y="818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155"/>
              <p:cNvSpPr>
                <a:spLocks/>
              </p:cNvSpPr>
              <p:nvPr/>
            </p:nvSpPr>
            <p:spPr bwMode="auto">
              <a:xfrm>
                <a:off x="3690486" y="2914021"/>
                <a:ext cx="847275" cy="680571"/>
              </a:xfrm>
              <a:custGeom>
                <a:avLst/>
                <a:gdLst>
                  <a:gd name="T0" fmla="*/ 32 w 6051"/>
                  <a:gd name="T1" fmla="*/ 156 h 4863"/>
                  <a:gd name="T2" fmla="*/ 60 w 6051"/>
                  <a:gd name="T3" fmla="*/ 148 h 4863"/>
                  <a:gd name="T4" fmla="*/ 89 w 6051"/>
                  <a:gd name="T5" fmla="*/ 148 h 4863"/>
                  <a:gd name="T6" fmla="*/ 108 w 6051"/>
                  <a:gd name="T7" fmla="*/ 138 h 4863"/>
                  <a:gd name="T8" fmla="*/ 113 w 6051"/>
                  <a:gd name="T9" fmla="*/ 164 h 4863"/>
                  <a:gd name="T10" fmla="*/ 116 w 6051"/>
                  <a:gd name="T11" fmla="*/ 177 h 4863"/>
                  <a:gd name="T12" fmla="*/ 108 w 6051"/>
                  <a:gd name="T13" fmla="*/ 203 h 4863"/>
                  <a:gd name="T14" fmla="*/ 118 w 6051"/>
                  <a:gd name="T15" fmla="*/ 228 h 4863"/>
                  <a:gd name="T16" fmla="*/ 115 w 6051"/>
                  <a:gd name="T17" fmla="*/ 255 h 4863"/>
                  <a:gd name="T18" fmla="*/ 132 w 6051"/>
                  <a:gd name="T19" fmla="*/ 286 h 4863"/>
                  <a:gd name="T20" fmla="*/ 147 w 6051"/>
                  <a:gd name="T21" fmla="*/ 306 h 4863"/>
                  <a:gd name="T22" fmla="*/ 171 w 6051"/>
                  <a:gd name="T23" fmla="*/ 320 h 4863"/>
                  <a:gd name="T24" fmla="*/ 196 w 6051"/>
                  <a:gd name="T25" fmla="*/ 339 h 4863"/>
                  <a:gd name="T26" fmla="*/ 229 w 6051"/>
                  <a:gd name="T27" fmla="*/ 335 h 4863"/>
                  <a:gd name="T28" fmla="*/ 257 w 6051"/>
                  <a:gd name="T29" fmla="*/ 350 h 4863"/>
                  <a:gd name="T30" fmla="*/ 276 w 6051"/>
                  <a:gd name="T31" fmla="*/ 347 h 4863"/>
                  <a:gd name="T32" fmla="*/ 289 w 6051"/>
                  <a:gd name="T33" fmla="*/ 360 h 4863"/>
                  <a:gd name="T34" fmla="*/ 333 w 6051"/>
                  <a:gd name="T35" fmla="*/ 380 h 4863"/>
                  <a:gd name="T36" fmla="*/ 344 w 6051"/>
                  <a:gd name="T37" fmla="*/ 380 h 4863"/>
                  <a:gd name="T38" fmla="*/ 359 w 6051"/>
                  <a:gd name="T39" fmla="*/ 394 h 4863"/>
                  <a:gd name="T40" fmla="*/ 397 w 6051"/>
                  <a:gd name="T41" fmla="*/ 408 h 4863"/>
                  <a:gd name="T42" fmla="*/ 423 w 6051"/>
                  <a:gd name="T43" fmla="*/ 405 h 4863"/>
                  <a:gd name="T44" fmla="*/ 444 w 6051"/>
                  <a:gd name="T45" fmla="*/ 412 h 4863"/>
                  <a:gd name="T46" fmla="*/ 470 w 6051"/>
                  <a:gd name="T47" fmla="*/ 395 h 4863"/>
                  <a:gd name="T48" fmla="*/ 480 w 6051"/>
                  <a:gd name="T49" fmla="*/ 365 h 4863"/>
                  <a:gd name="T50" fmla="*/ 509 w 6051"/>
                  <a:gd name="T51" fmla="*/ 311 h 4863"/>
                  <a:gd name="T52" fmla="*/ 492 w 6051"/>
                  <a:gd name="T53" fmla="*/ 264 h 4863"/>
                  <a:gd name="T54" fmla="*/ 503 w 6051"/>
                  <a:gd name="T55" fmla="*/ 233 h 4863"/>
                  <a:gd name="T56" fmla="*/ 455 w 6051"/>
                  <a:gd name="T57" fmla="*/ 215 h 4863"/>
                  <a:gd name="T58" fmla="*/ 417 w 6051"/>
                  <a:gd name="T59" fmla="*/ 214 h 4863"/>
                  <a:gd name="T60" fmla="*/ 385 w 6051"/>
                  <a:gd name="T61" fmla="*/ 169 h 4863"/>
                  <a:gd name="T62" fmla="*/ 398 w 6051"/>
                  <a:gd name="T63" fmla="*/ 118 h 4863"/>
                  <a:gd name="T64" fmla="*/ 391 w 6051"/>
                  <a:gd name="T65" fmla="*/ 57 h 4863"/>
                  <a:gd name="T66" fmla="*/ 362 w 6051"/>
                  <a:gd name="T67" fmla="*/ 50 h 4863"/>
                  <a:gd name="T68" fmla="*/ 324 w 6051"/>
                  <a:gd name="T69" fmla="*/ 35 h 4863"/>
                  <a:gd name="T70" fmla="*/ 290 w 6051"/>
                  <a:gd name="T71" fmla="*/ 0 h 4863"/>
                  <a:gd name="T72" fmla="*/ 236 w 6051"/>
                  <a:gd name="T73" fmla="*/ 2 h 4863"/>
                  <a:gd name="T74" fmla="*/ 227 w 6051"/>
                  <a:gd name="T75" fmla="*/ 18 h 4863"/>
                  <a:gd name="T76" fmla="*/ 205 w 6051"/>
                  <a:gd name="T77" fmla="*/ 35 h 4863"/>
                  <a:gd name="T78" fmla="*/ 201 w 6051"/>
                  <a:gd name="T79" fmla="*/ 48 h 4863"/>
                  <a:gd name="T80" fmla="*/ 167 w 6051"/>
                  <a:gd name="T81" fmla="*/ 75 h 4863"/>
                  <a:gd name="T82" fmla="*/ 121 w 6051"/>
                  <a:gd name="T83" fmla="*/ 109 h 4863"/>
                  <a:gd name="T84" fmla="*/ 84 w 6051"/>
                  <a:gd name="T85" fmla="*/ 118 h 4863"/>
                  <a:gd name="T86" fmla="*/ 64 w 6051"/>
                  <a:gd name="T87" fmla="*/ 109 h 4863"/>
                  <a:gd name="T88" fmla="*/ 0 w 6051"/>
                  <a:gd name="T89" fmla="*/ 146 h 4863"/>
                  <a:gd name="T90" fmla="*/ 32 w 6051"/>
                  <a:gd name="T91" fmla="*/ 156 h 486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6051" h="4863">
                    <a:moveTo>
                      <a:pt x="372" y="1842"/>
                    </a:moveTo>
                    <a:cubicBezTo>
                      <a:pt x="520" y="1804"/>
                      <a:pt x="520" y="1745"/>
                      <a:pt x="713" y="1745"/>
                    </a:cubicBezTo>
                    <a:cubicBezTo>
                      <a:pt x="884" y="1745"/>
                      <a:pt x="899" y="1730"/>
                      <a:pt x="1055" y="1745"/>
                    </a:cubicBezTo>
                    <a:cubicBezTo>
                      <a:pt x="1173" y="1752"/>
                      <a:pt x="1188" y="1611"/>
                      <a:pt x="1270" y="1626"/>
                    </a:cubicBezTo>
                    <a:cubicBezTo>
                      <a:pt x="1396" y="1760"/>
                      <a:pt x="1329" y="1819"/>
                      <a:pt x="1329" y="1931"/>
                    </a:cubicBezTo>
                    <a:cubicBezTo>
                      <a:pt x="1329" y="1998"/>
                      <a:pt x="1366" y="2087"/>
                      <a:pt x="1366" y="2087"/>
                    </a:cubicBezTo>
                    <a:cubicBezTo>
                      <a:pt x="1366" y="2198"/>
                      <a:pt x="1270" y="2213"/>
                      <a:pt x="1270" y="2391"/>
                    </a:cubicBezTo>
                    <a:cubicBezTo>
                      <a:pt x="1270" y="2554"/>
                      <a:pt x="1389" y="2554"/>
                      <a:pt x="1389" y="2695"/>
                    </a:cubicBezTo>
                    <a:cubicBezTo>
                      <a:pt x="1389" y="2807"/>
                      <a:pt x="1359" y="2903"/>
                      <a:pt x="1359" y="3014"/>
                    </a:cubicBezTo>
                    <a:cubicBezTo>
                      <a:pt x="1359" y="3171"/>
                      <a:pt x="1485" y="3349"/>
                      <a:pt x="1560" y="3371"/>
                    </a:cubicBezTo>
                    <a:cubicBezTo>
                      <a:pt x="1656" y="3401"/>
                      <a:pt x="1641" y="3594"/>
                      <a:pt x="1738" y="3609"/>
                    </a:cubicBezTo>
                    <a:cubicBezTo>
                      <a:pt x="1931" y="3624"/>
                      <a:pt x="1893" y="3779"/>
                      <a:pt x="2020" y="3779"/>
                    </a:cubicBezTo>
                    <a:cubicBezTo>
                      <a:pt x="2198" y="3779"/>
                      <a:pt x="2087" y="3965"/>
                      <a:pt x="2317" y="4002"/>
                    </a:cubicBezTo>
                    <a:cubicBezTo>
                      <a:pt x="2584" y="4047"/>
                      <a:pt x="2606" y="3957"/>
                      <a:pt x="2703" y="3957"/>
                    </a:cubicBezTo>
                    <a:cubicBezTo>
                      <a:pt x="2940" y="3957"/>
                      <a:pt x="2888" y="3994"/>
                      <a:pt x="3037" y="4128"/>
                    </a:cubicBezTo>
                    <a:cubicBezTo>
                      <a:pt x="3111" y="4195"/>
                      <a:pt x="3178" y="4099"/>
                      <a:pt x="3252" y="4099"/>
                    </a:cubicBezTo>
                    <a:cubicBezTo>
                      <a:pt x="3326" y="4099"/>
                      <a:pt x="3371" y="4210"/>
                      <a:pt x="3408" y="4254"/>
                    </a:cubicBezTo>
                    <a:cubicBezTo>
                      <a:pt x="3534" y="4425"/>
                      <a:pt x="3750" y="4343"/>
                      <a:pt x="3928" y="4484"/>
                    </a:cubicBezTo>
                    <a:cubicBezTo>
                      <a:pt x="3980" y="4529"/>
                      <a:pt x="3994" y="4484"/>
                      <a:pt x="4061" y="4484"/>
                    </a:cubicBezTo>
                    <a:cubicBezTo>
                      <a:pt x="4180" y="4470"/>
                      <a:pt x="4128" y="4611"/>
                      <a:pt x="4232" y="4648"/>
                    </a:cubicBezTo>
                    <a:cubicBezTo>
                      <a:pt x="4343" y="4856"/>
                      <a:pt x="4447" y="4848"/>
                      <a:pt x="4677" y="4811"/>
                    </a:cubicBezTo>
                    <a:cubicBezTo>
                      <a:pt x="4796" y="4789"/>
                      <a:pt x="4900" y="4782"/>
                      <a:pt x="4989" y="4782"/>
                    </a:cubicBezTo>
                    <a:cubicBezTo>
                      <a:pt x="5041" y="4782"/>
                      <a:pt x="5138" y="4811"/>
                      <a:pt x="5234" y="4863"/>
                    </a:cubicBezTo>
                    <a:cubicBezTo>
                      <a:pt x="5323" y="4774"/>
                      <a:pt x="5442" y="4729"/>
                      <a:pt x="5539" y="4663"/>
                    </a:cubicBezTo>
                    <a:cubicBezTo>
                      <a:pt x="5620" y="4596"/>
                      <a:pt x="5598" y="4410"/>
                      <a:pt x="5665" y="4306"/>
                    </a:cubicBezTo>
                    <a:cubicBezTo>
                      <a:pt x="5798" y="4099"/>
                      <a:pt x="5947" y="4091"/>
                      <a:pt x="6006" y="3668"/>
                    </a:cubicBezTo>
                    <a:cubicBezTo>
                      <a:pt x="6051" y="3326"/>
                      <a:pt x="5798" y="3319"/>
                      <a:pt x="5798" y="3111"/>
                    </a:cubicBezTo>
                    <a:cubicBezTo>
                      <a:pt x="5798" y="2963"/>
                      <a:pt x="5969" y="2978"/>
                      <a:pt x="5932" y="2755"/>
                    </a:cubicBezTo>
                    <a:cubicBezTo>
                      <a:pt x="5895" y="2576"/>
                      <a:pt x="5583" y="2621"/>
                      <a:pt x="5361" y="2539"/>
                    </a:cubicBezTo>
                    <a:cubicBezTo>
                      <a:pt x="5264" y="2502"/>
                      <a:pt x="4930" y="2584"/>
                      <a:pt x="4915" y="2525"/>
                    </a:cubicBezTo>
                    <a:cubicBezTo>
                      <a:pt x="4893" y="2368"/>
                      <a:pt x="4544" y="2265"/>
                      <a:pt x="4544" y="1998"/>
                    </a:cubicBezTo>
                    <a:cubicBezTo>
                      <a:pt x="4544" y="1760"/>
                      <a:pt x="4700" y="1619"/>
                      <a:pt x="4700" y="1389"/>
                    </a:cubicBezTo>
                    <a:cubicBezTo>
                      <a:pt x="4700" y="1136"/>
                      <a:pt x="4581" y="951"/>
                      <a:pt x="4611" y="676"/>
                    </a:cubicBezTo>
                    <a:cubicBezTo>
                      <a:pt x="4581" y="632"/>
                      <a:pt x="4343" y="572"/>
                      <a:pt x="4269" y="587"/>
                    </a:cubicBezTo>
                    <a:cubicBezTo>
                      <a:pt x="4099" y="609"/>
                      <a:pt x="4121" y="491"/>
                      <a:pt x="3816" y="409"/>
                    </a:cubicBezTo>
                    <a:cubicBezTo>
                      <a:pt x="3571" y="342"/>
                      <a:pt x="3467" y="0"/>
                      <a:pt x="3423" y="0"/>
                    </a:cubicBezTo>
                    <a:cubicBezTo>
                      <a:pt x="3252" y="0"/>
                      <a:pt x="2955" y="23"/>
                      <a:pt x="2784" y="23"/>
                    </a:cubicBezTo>
                    <a:cubicBezTo>
                      <a:pt x="2784" y="112"/>
                      <a:pt x="2673" y="186"/>
                      <a:pt x="2673" y="216"/>
                    </a:cubicBezTo>
                    <a:cubicBezTo>
                      <a:pt x="2718" y="357"/>
                      <a:pt x="2428" y="245"/>
                      <a:pt x="2413" y="409"/>
                    </a:cubicBezTo>
                    <a:cubicBezTo>
                      <a:pt x="2406" y="520"/>
                      <a:pt x="2369" y="476"/>
                      <a:pt x="2369" y="572"/>
                    </a:cubicBezTo>
                    <a:cubicBezTo>
                      <a:pt x="2369" y="824"/>
                      <a:pt x="2161" y="854"/>
                      <a:pt x="1975" y="884"/>
                    </a:cubicBezTo>
                    <a:cubicBezTo>
                      <a:pt x="1604" y="943"/>
                      <a:pt x="1537" y="1359"/>
                      <a:pt x="1426" y="1292"/>
                    </a:cubicBezTo>
                    <a:cubicBezTo>
                      <a:pt x="1292" y="1218"/>
                      <a:pt x="1196" y="1448"/>
                      <a:pt x="995" y="1389"/>
                    </a:cubicBezTo>
                    <a:cubicBezTo>
                      <a:pt x="914" y="1366"/>
                      <a:pt x="914" y="1314"/>
                      <a:pt x="758" y="1292"/>
                    </a:cubicBezTo>
                    <a:cubicBezTo>
                      <a:pt x="364" y="1255"/>
                      <a:pt x="424" y="1537"/>
                      <a:pt x="0" y="1723"/>
                    </a:cubicBezTo>
                    <a:lnTo>
                      <a:pt x="372" y="184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157"/>
              <p:cNvSpPr>
                <a:spLocks/>
              </p:cNvSpPr>
              <p:nvPr/>
            </p:nvSpPr>
            <p:spPr bwMode="auto">
              <a:xfrm>
                <a:off x="2846514" y="2877680"/>
                <a:ext cx="896823" cy="460872"/>
              </a:xfrm>
              <a:custGeom>
                <a:avLst/>
                <a:gdLst>
                  <a:gd name="T0" fmla="*/ 513 w 6407"/>
                  <a:gd name="T1" fmla="*/ 168 h 3289"/>
                  <a:gd name="T2" fmla="*/ 543 w 6407"/>
                  <a:gd name="T3" fmla="*/ 178 h 3289"/>
                  <a:gd name="T4" fmla="*/ 517 w 6407"/>
                  <a:gd name="T5" fmla="*/ 191 h 3289"/>
                  <a:gd name="T6" fmla="*/ 496 w 6407"/>
                  <a:gd name="T7" fmla="*/ 209 h 3289"/>
                  <a:gd name="T8" fmla="*/ 472 w 6407"/>
                  <a:gd name="T9" fmla="*/ 222 h 3289"/>
                  <a:gd name="T10" fmla="*/ 448 w 6407"/>
                  <a:gd name="T11" fmla="*/ 241 h 3289"/>
                  <a:gd name="T12" fmla="*/ 390 w 6407"/>
                  <a:gd name="T13" fmla="*/ 276 h 3289"/>
                  <a:gd name="T14" fmla="*/ 353 w 6407"/>
                  <a:gd name="T15" fmla="*/ 266 h 3289"/>
                  <a:gd name="T16" fmla="*/ 300 w 6407"/>
                  <a:gd name="T17" fmla="*/ 266 h 3289"/>
                  <a:gd name="T18" fmla="*/ 272 w 6407"/>
                  <a:gd name="T19" fmla="*/ 279 h 3289"/>
                  <a:gd name="T20" fmla="*/ 262 w 6407"/>
                  <a:gd name="T21" fmla="*/ 275 h 3289"/>
                  <a:gd name="T22" fmla="*/ 248 w 6407"/>
                  <a:gd name="T23" fmla="*/ 234 h 3289"/>
                  <a:gd name="T24" fmla="*/ 248 w 6407"/>
                  <a:gd name="T25" fmla="*/ 164 h 3289"/>
                  <a:gd name="T26" fmla="*/ 171 w 6407"/>
                  <a:gd name="T27" fmla="*/ 210 h 3289"/>
                  <a:gd name="T28" fmla="*/ 138 w 6407"/>
                  <a:gd name="T29" fmla="*/ 209 h 3289"/>
                  <a:gd name="T30" fmla="*/ 66 w 6407"/>
                  <a:gd name="T31" fmla="*/ 169 h 3289"/>
                  <a:gd name="T32" fmla="*/ 80 w 6407"/>
                  <a:gd name="T33" fmla="*/ 147 h 3289"/>
                  <a:gd name="T34" fmla="*/ 51 w 6407"/>
                  <a:gd name="T35" fmla="*/ 115 h 3289"/>
                  <a:gd name="T36" fmla="*/ 36 w 6407"/>
                  <a:gd name="T37" fmla="*/ 96 h 3289"/>
                  <a:gd name="T38" fmla="*/ 16 w 6407"/>
                  <a:gd name="T39" fmla="*/ 69 h 3289"/>
                  <a:gd name="T40" fmla="*/ 19 w 6407"/>
                  <a:gd name="T41" fmla="*/ 60 h 3289"/>
                  <a:gd name="T42" fmla="*/ 1 w 6407"/>
                  <a:gd name="T43" fmla="*/ 35 h 3289"/>
                  <a:gd name="T44" fmla="*/ 18 w 6407"/>
                  <a:gd name="T45" fmla="*/ 20 h 3289"/>
                  <a:gd name="T46" fmla="*/ 13 w 6407"/>
                  <a:gd name="T47" fmla="*/ 1 h 3289"/>
                  <a:gd name="T48" fmla="*/ 113 w 6407"/>
                  <a:gd name="T49" fmla="*/ 35 h 3289"/>
                  <a:gd name="T50" fmla="*/ 220 w 6407"/>
                  <a:gd name="T51" fmla="*/ 54 h 3289"/>
                  <a:gd name="T52" fmla="*/ 318 w 6407"/>
                  <a:gd name="T53" fmla="*/ 89 h 3289"/>
                  <a:gd name="T54" fmla="*/ 513 w 6407"/>
                  <a:gd name="T55" fmla="*/ 168 h 328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6407" h="3289">
                    <a:moveTo>
                      <a:pt x="6058" y="1975"/>
                    </a:moveTo>
                    <a:lnTo>
                      <a:pt x="6407" y="2094"/>
                    </a:lnTo>
                    <a:cubicBezTo>
                      <a:pt x="6288" y="2131"/>
                      <a:pt x="6206" y="2116"/>
                      <a:pt x="6102" y="2257"/>
                    </a:cubicBezTo>
                    <a:cubicBezTo>
                      <a:pt x="6028" y="2354"/>
                      <a:pt x="5976" y="2405"/>
                      <a:pt x="5857" y="2465"/>
                    </a:cubicBezTo>
                    <a:cubicBezTo>
                      <a:pt x="5739" y="2524"/>
                      <a:pt x="5716" y="2480"/>
                      <a:pt x="5568" y="2620"/>
                    </a:cubicBezTo>
                    <a:cubicBezTo>
                      <a:pt x="5486" y="2702"/>
                      <a:pt x="5441" y="2836"/>
                      <a:pt x="5286" y="2836"/>
                    </a:cubicBezTo>
                    <a:cubicBezTo>
                      <a:pt x="4862" y="2836"/>
                      <a:pt x="5056" y="3215"/>
                      <a:pt x="4603" y="3252"/>
                    </a:cubicBezTo>
                    <a:cubicBezTo>
                      <a:pt x="4506" y="3252"/>
                      <a:pt x="4558" y="3111"/>
                      <a:pt x="4165" y="3133"/>
                    </a:cubicBezTo>
                    <a:cubicBezTo>
                      <a:pt x="4038" y="3140"/>
                      <a:pt x="3704" y="3133"/>
                      <a:pt x="3534" y="3133"/>
                    </a:cubicBezTo>
                    <a:cubicBezTo>
                      <a:pt x="3400" y="3133"/>
                      <a:pt x="3363" y="3289"/>
                      <a:pt x="3214" y="3289"/>
                    </a:cubicBezTo>
                    <a:cubicBezTo>
                      <a:pt x="3133" y="3289"/>
                      <a:pt x="3103" y="3289"/>
                      <a:pt x="3088" y="3237"/>
                    </a:cubicBezTo>
                    <a:cubicBezTo>
                      <a:pt x="2873" y="3192"/>
                      <a:pt x="2925" y="3051"/>
                      <a:pt x="2925" y="2754"/>
                    </a:cubicBezTo>
                    <a:cubicBezTo>
                      <a:pt x="2925" y="2510"/>
                      <a:pt x="2940" y="2019"/>
                      <a:pt x="2925" y="1938"/>
                    </a:cubicBezTo>
                    <a:cubicBezTo>
                      <a:pt x="2539" y="2094"/>
                      <a:pt x="2687" y="2487"/>
                      <a:pt x="2019" y="2472"/>
                    </a:cubicBezTo>
                    <a:cubicBezTo>
                      <a:pt x="1871" y="2465"/>
                      <a:pt x="1767" y="2487"/>
                      <a:pt x="1626" y="2465"/>
                    </a:cubicBezTo>
                    <a:cubicBezTo>
                      <a:pt x="1633" y="1760"/>
                      <a:pt x="698" y="2153"/>
                      <a:pt x="779" y="1997"/>
                    </a:cubicBezTo>
                    <a:cubicBezTo>
                      <a:pt x="831" y="1930"/>
                      <a:pt x="943" y="1856"/>
                      <a:pt x="943" y="1737"/>
                    </a:cubicBezTo>
                    <a:cubicBezTo>
                      <a:pt x="943" y="1582"/>
                      <a:pt x="601" y="1410"/>
                      <a:pt x="601" y="1358"/>
                    </a:cubicBezTo>
                    <a:cubicBezTo>
                      <a:pt x="601" y="1136"/>
                      <a:pt x="453" y="1262"/>
                      <a:pt x="423" y="1136"/>
                    </a:cubicBezTo>
                    <a:cubicBezTo>
                      <a:pt x="349" y="876"/>
                      <a:pt x="326" y="936"/>
                      <a:pt x="193" y="809"/>
                    </a:cubicBezTo>
                    <a:cubicBezTo>
                      <a:pt x="200" y="794"/>
                      <a:pt x="230" y="743"/>
                      <a:pt x="230" y="705"/>
                    </a:cubicBezTo>
                    <a:cubicBezTo>
                      <a:pt x="230" y="557"/>
                      <a:pt x="0" y="646"/>
                      <a:pt x="7" y="408"/>
                    </a:cubicBezTo>
                    <a:cubicBezTo>
                      <a:pt x="15" y="230"/>
                      <a:pt x="208" y="319"/>
                      <a:pt x="208" y="238"/>
                    </a:cubicBezTo>
                    <a:cubicBezTo>
                      <a:pt x="208" y="178"/>
                      <a:pt x="148" y="74"/>
                      <a:pt x="148" y="15"/>
                    </a:cubicBezTo>
                    <a:cubicBezTo>
                      <a:pt x="505" y="0"/>
                      <a:pt x="816" y="342"/>
                      <a:pt x="1329" y="408"/>
                    </a:cubicBezTo>
                    <a:cubicBezTo>
                      <a:pt x="2049" y="497"/>
                      <a:pt x="2405" y="609"/>
                      <a:pt x="2598" y="631"/>
                    </a:cubicBezTo>
                    <a:cubicBezTo>
                      <a:pt x="3081" y="683"/>
                      <a:pt x="3229" y="802"/>
                      <a:pt x="3756" y="1054"/>
                    </a:cubicBezTo>
                    <a:cubicBezTo>
                      <a:pt x="4283" y="1307"/>
                      <a:pt x="5167" y="1700"/>
                      <a:pt x="6058" y="197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158"/>
              <p:cNvSpPr>
                <a:spLocks/>
              </p:cNvSpPr>
              <p:nvPr/>
            </p:nvSpPr>
            <p:spPr bwMode="auto">
              <a:xfrm>
                <a:off x="3908498" y="1348046"/>
                <a:ext cx="726707" cy="786291"/>
              </a:xfrm>
              <a:custGeom>
                <a:avLst/>
                <a:gdLst>
                  <a:gd name="T0" fmla="*/ 437 w 5182"/>
                  <a:gd name="T1" fmla="*/ 348 h 5620"/>
                  <a:gd name="T2" fmla="*/ 438 w 5182"/>
                  <a:gd name="T3" fmla="*/ 350 h 5620"/>
                  <a:gd name="T4" fmla="*/ 381 w 5182"/>
                  <a:gd name="T5" fmla="*/ 350 h 5620"/>
                  <a:gd name="T6" fmla="*/ 351 w 5182"/>
                  <a:gd name="T7" fmla="*/ 368 h 5620"/>
                  <a:gd name="T8" fmla="*/ 336 w 5182"/>
                  <a:gd name="T9" fmla="*/ 391 h 5620"/>
                  <a:gd name="T10" fmla="*/ 326 w 5182"/>
                  <a:gd name="T11" fmla="*/ 416 h 5620"/>
                  <a:gd name="T12" fmla="*/ 304 w 5182"/>
                  <a:gd name="T13" fmla="*/ 431 h 5620"/>
                  <a:gd name="T14" fmla="*/ 275 w 5182"/>
                  <a:gd name="T15" fmla="*/ 406 h 5620"/>
                  <a:gd name="T16" fmla="*/ 238 w 5182"/>
                  <a:gd name="T17" fmla="*/ 450 h 5620"/>
                  <a:gd name="T18" fmla="*/ 211 w 5182"/>
                  <a:gd name="T19" fmla="*/ 462 h 5620"/>
                  <a:gd name="T20" fmla="*/ 177 w 5182"/>
                  <a:gd name="T21" fmla="*/ 433 h 5620"/>
                  <a:gd name="T22" fmla="*/ 177 w 5182"/>
                  <a:gd name="T23" fmla="*/ 421 h 5620"/>
                  <a:gd name="T24" fmla="*/ 176 w 5182"/>
                  <a:gd name="T25" fmla="*/ 388 h 5620"/>
                  <a:gd name="T26" fmla="*/ 170 w 5182"/>
                  <a:gd name="T27" fmla="*/ 346 h 5620"/>
                  <a:gd name="T28" fmla="*/ 160 w 5182"/>
                  <a:gd name="T29" fmla="*/ 282 h 5620"/>
                  <a:gd name="T30" fmla="*/ 143 w 5182"/>
                  <a:gd name="T31" fmla="*/ 258 h 5620"/>
                  <a:gd name="T32" fmla="*/ 106 w 5182"/>
                  <a:gd name="T33" fmla="*/ 214 h 5620"/>
                  <a:gd name="T34" fmla="*/ 93 w 5182"/>
                  <a:gd name="T35" fmla="*/ 209 h 5620"/>
                  <a:gd name="T36" fmla="*/ 70 w 5182"/>
                  <a:gd name="T37" fmla="*/ 209 h 5620"/>
                  <a:gd name="T38" fmla="*/ 57 w 5182"/>
                  <a:gd name="T39" fmla="*/ 195 h 5620"/>
                  <a:gd name="T40" fmla="*/ 42 w 5182"/>
                  <a:gd name="T41" fmla="*/ 158 h 5620"/>
                  <a:gd name="T42" fmla="*/ 42 w 5182"/>
                  <a:gd name="T43" fmla="*/ 134 h 5620"/>
                  <a:gd name="T44" fmla="*/ 13 w 5182"/>
                  <a:gd name="T45" fmla="*/ 101 h 5620"/>
                  <a:gd name="T46" fmla="*/ 4 w 5182"/>
                  <a:gd name="T47" fmla="*/ 79 h 5620"/>
                  <a:gd name="T48" fmla="*/ 18 w 5182"/>
                  <a:gd name="T49" fmla="*/ 87 h 5620"/>
                  <a:gd name="T50" fmla="*/ 41 w 5182"/>
                  <a:gd name="T51" fmla="*/ 86 h 5620"/>
                  <a:gd name="T52" fmla="*/ 57 w 5182"/>
                  <a:gd name="T53" fmla="*/ 104 h 5620"/>
                  <a:gd name="T54" fmla="*/ 75 w 5182"/>
                  <a:gd name="T55" fmla="*/ 99 h 5620"/>
                  <a:gd name="T56" fmla="*/ 93 w 5182"/>
                  <a:gd name="T57" fmla="*/ 102 h 5620"/>
                  <a:gd name="T58" fmla="*/ 106 w 5182"/>
                  <a:gd name="T59" fmla="*/ 98 h 5620"/>
                  <a:gd name="T60" fmla="*/ 139 w 5182"/>
                  <a:gd name="T61" fmla="*/ 125 h 5620"/>
                  <a:gd name="T62" fmla="*/ 150 w 5182"/>
                  <a:gd name="T63" fmla="*/ 114 h 5620"/>
                  <a:gd name="T64" fmla="*/ 148 w 5182"/>
                  <a:gd name="T65" fmla="*/ 96 h 5620"/>
                  <a:gd name="T66" fmla="*/ 164 w 5182"/>
                  <a:gd name="T67" fmla="*/ 92 h 5620"/>
                  <a:gd name="T68" fmla="*/ 173 w 5182"/>
                  <a:gd name="T69" fmla="*/ 80 h 5620"/>
                  <a:gd name="T70" fmla="*/ 190 w 5182"/>
                  <a:gd name="T71" fmla="*/ 86 h 5620"/>
                  <a:gd name="T72" fmla="*/ 204 w 5182"/>
                  <a:gd name="T73" fmla="*/ 82 h 5620"/>
                  <a:gd name="T74" fmla="*/ 214 w 5182"/>
                  <a:gd name="T75" fmla="*/ 80 h 5620"/>
                  <a:gd name="T76" fmla="*/ 233 w 5182"/>
                  <a:gd name="T77" fmla="*/ 74 h 5620"/>
                  <a:gd name="T78" fmla="*/ 252 w 5182"/>
                  <a:gd name="T79" fmla="*/ 61 h 5620"/>
                  <a:gd name="T80" fmla="*/ 280 w 5182"/>
                  <a:gd name="T81" fmla="*/ 55 h 5620"/>
                  <a:gd name="T82" fmla="*/ 309 w 5182"/>
                  <a:gd name="T83" fmla="*/ 22 h 5620"/>
                  <a:gd name="T84" fmla="*/ 303 w 5182"/>
                  <a:gd name="T85" fmla="*/ 6 h 5620"/>
                  <a:gd name="T86" fmla="*/ 324 w 5182"/>
                  <a:gd name="T87" fmla="*/ 6 h 5620"/>
                  <a:gd name="T88" fmla="*/ 339 w 5182"/>
                  <a:gd name="T89" fmla="*/ 0 h 5620"/>
                  <a:gd name="T90" fmla="*/ 352 w 5182"/>
                  <a:gd name="T91" fmla="*/ 28 h 5620"/>
                  <a:gd name="T92" fmla="*/ 343 w 5182"/>
                  <a:gd name="T93" fmla="*/ 51 h 5620"/>
                  <a:gd name="T94" fmla="*/ 371 w 5182"/>
                  <a:gd name="T95" fmla="*/ 58 h 5620"/>
                  <a:gd name="T96" fmla="*/ 374 w 5182"/>
                  <a:gd name="T97" fmla="*/ 73 h 5620"/>
                  <a:gd name="T98" fmla="*/ 383 w 5182"/>
                  <a:gd name="T99" fmla="*/ 99 h 5620"/>
                  <a:gd name="T100" fmla="*/ 364 w 5182"/>
                  <a:gd name="T101" fmla="*/ 121 h 5620"/>
                  <a:gd name="T102" fmla="*/ 365 w 5182"/>
                  <a:gd name="T103" fmla="*/ 138 h 5620"/>
                  <a:gd name="T104" fmla="*/ 354 w 5182"/>
                  <a:gd name="T105" fmla="*/ 179 h 5620"/>
                  <a:gd name="T106" fmla="*/ 373 w 5182"/>
                  <a:gd name="T107" fmla="*/ 217 h 5620"/>
                  <a:gd name="T108" fmla="*/ 374 w 5182"/>
                  <a:gd name="T109" fmla="*/ 239 h 5620"/>
                  <a:gd name="T110" fmla="*/ 415 w 5182"/>
                  <a:gd name="T111" fmla="*/ 277 h 5620"/>
                  <a:gd name="T112" fmla="*/ 432 w 5182"/>
                  <a:gd name="T113" fmla="*/ 285 h 5620"/>
                  <a:gd name="T114" fmla="*/ 437 w 5182"/>
                  <a:gd name="T115" fmla="*/ 348 h 562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82" h="5620">
                    <a:moveTo>
                      <a:pt x="5145" y="4113"/>
                    </a:moveTo>
                    <a:cubicBezTo>
                      <a:pt x="5182" y="4328"/>
                      <a:pt x="5160" y="4127"/>
                      <a:pt x="5160" y="4127"/>
                    </a:cubicBezTo>
                    <a:cubicBezTo>
                      <a:pt x="5160" y="4127"/>
                      <a:pt x="4670" y="4105"/>
                      <a:pt x="4484" y="4135"/>
                    </a:cubicBezTo>
                    <a:cubicBezTo>
                      <a:pt x="4299" y="4113"/>
                      <a:pt x="4158" y="4231"/>
                      <a:pt x="4136" y="4343"/>
                    </a:cubicBezTo>
                    <a:cubicBezTo>
                      <a:pt x="4106" y="4506"/>
                      <a:pt x="4084" y="4573"/>
                      <a:pt x="3957" y="4617"/>
                    </a:cubicBezTo>
                    <a:cubicBezTo>
                      <a:pt x="3824" y="4699"/>
                      <a:pt x="3824" y="5048"/>
                      <a:pt x="3839" y="4915"/>
                    </a:cubicBezTo>
                    <a:cubicBezTo>
                      <a:pt x="3839" y="4915"/>
                      <a:pt x="3727" y="5107"/>
                      <a:pt x="3586" y="5093"/>
                    </a:cubicBezTo>
                    <a:cubicBezTo>
                      <a:pt x="3415" y="5078"/>
                      <a:pt x="3371" y="4759"/>
                      <a:pt x="3237" y="4788"/>
                    </a:cubicBezTo>
                    <a:cubicBezTo>
                      <a:pt x="3029" y="4788"/>
                      <a:pt x="2725" y="4892"/>
                      <a:pt x="2807" y="5308"/>
                    </a:cubicBezTo>
                    <a:cubicBezTo>
                      <a:pt x="2807" y="5516"/>
                      <a:pt x="2688" y="5620"/>
                      <a:pt x="2480" y="5449"/>
                    </a:cubicBezTo>
                    <a:cubicBezTo>
                      <a:pt x="2480" y="5449"/>
                      <a:pt x="2302" y="5211"/>
                      <a:pt x="2087" y="5115"/>
                    </a:cubicBezTo>
                    <a:cubicBezTo>
                      <a:pt x="1975" y="5078"/>
                      <a:pt x="1938" y="4966"/>
                      <a:pt x="2079" y="4974"/>
                    </a:cubicBezTo>
                    <a:cubicBezTo>
                      <a:pt x="2250" y="4937"/>
                      <a:pt x="2057" y="4721"/>
                      <a:pt x="2072" y="4580"/>
                    </a:cubicBezTo>
                    <a:cubicBezTo>
                      <a:pt x="2087" y="4424"/>
                      <a:pt x="2005" y="4231"/>
                      <a:pt x="1997" y="4090"/>
                    </a:cubicBezTo>
                    <a:cubicBezTo>
                      <a:pt x="2064" y="3496"/>
                      <a:pt x="1931" y="3600"/>
                      <a:pt x="1886" y="3325"/>
                    </a:cubicBezTo>
                    <a:cubicBezTo>
                      <a:pt x="1864" y="3214"/>
                      <a:pt x="1715" y="3207"/>
                      <a:pt x="1686" y="3051"/>
                    </a:cubicBezTo>
                    <a:cubicBezTo>
                      <a:pt x="1671" y="2955"/>
                      <a:pt x="1196" y="2360"/>
                      <a:pt x="1248" y="2524"/>
                    </a:cubicBezTo>
                    <a:cubicBezTo>
                      <a:pt x="1248" y="2435"/>
                      <a:pt x="1121" y="2464"/>
                      <a:pt x="1099" y="2464"/>
                    </a:cubicBezTo>
                    <a:lnTo>
                      <a:pt x="825" y="2464"/>
                    </a:lnTo>
                    <a:cubicBezTo>
                      <a:pt x="728" y="2464"/>
                      <a:pt x="669" y="2412"/>
                      <a:pt x="676" y="2301"/>
                    </a:cubicBezTo>
                    <a:cubicBezTo>
                      <a:pt x="691" y="2004"/>
                      <a:pt x="498" y="2049"/>
                      <a:pt x="498" y="1870"/>
                    </a:cubicBezTo>
                    <a:cubicBezTo>
                      <a:pt x="498" y="1848"/>
                      <a:pt x="490" y="1677"/>
                      <a:pt x="490" y="1588"/>
                    </a:cubicBezTo>
                    <a:cubicBezTo>
                      <a:pt x="490" y="1381"/>
                      <a:pt x="490" y="1373"/>
                      <a:pt x="156" y="1195"/>
                    </a:cubicBezTo>
                    <a:cubicBezTo>
                      <a:pt x="60" y="1150"/>
                      <a:pt x="0" y="928"/>
                      <a:pt x="45" y="928"/>
                    </a:cubicBezTo>
                    <a:cubicBezTo>
                      <a:pt x="141" y="928"/>
                      <a:pt x="149" y="1032"/>
                      <a:pt x="216" y="1032"/>
                    </a:cubicBezTo>
                    <a:cubicBezTo>
                      <a:pt x="275" y="1032"/>
                      <a:pt x="431" y="1017"/>
                      <a:pt x="483" y="1017"/>
                    </a:cubicBezTo>
                    <a:cubicBezTo>
                      <a:pt x="624" y="1017"/>
                      <a:pt x="565" y="1232"/>
                      <a:pt x="676" y="1232"/>
                    </a:cubicBezTo>
                    <a:cubicBezTo>
                      <a:pt x="721" y="1232"/>
                      <a:pt x="780" y="1172"/>
                      <a:pt x="884" y="1172"/>
                    </a:cubicBezTo>
                    <a:cubicBezTo>
                      <a:pt x="980" y="1172"/>
                      <a:pt x="1003" y="1210"/>
                      <a:pt x="1099" y="1210"/>
                    </a:cubicBezTo>
                    <a:cubicBezTo>
                      <a:pt x="1159" y="1210"/>
                      <a:pt x="1188" y="1158"/>
                      <a:pt x="1248" y="1158"/>
                    </a:cubicBezTo>
                    <a:cubicBezTo>
                      <a:pt x="1426" y="1158"/>
                      <a:pt x="1433" y="1470"/>
                      <a:pt x="1641" y="1470"/>
                    </a:cubicBezTo>
                    <a:cubicBezTo>
                      <a:pt x="1715" y="1470"/>
                      <a:pt x="1767" y="1381"/>
                      <a:pt x="1767" y="1343"/>
                    </a:cubicBezTo>
                    <a:cubicBezTo>
                      <a:pt x="1767" y="1306"/>
                      <a:pt x="1686" y="1254"/>
                      <a:pt x="1738" y="1128"/>
                    </a:cubicBezTo>
                    <a:cubicBezTo>
                      <a:pt x="1782" y="1017"/>
                      <a:pt x="1931" y="1091"/>
                      <a:pt x="1931" y="1091"/>
                    </a:cubicBezTo>
                    <a:cubicBezTo>
                      <a:pt x="1931" y="1091"/>
                      <a:pt x="1938" y="965"/>
                      <a:pt x="2035" y="950"/>
                    </a:cubicBezTo>
                    <a:cubicBezTo>
                      <a:pt x="2124" y="928"/>
                      <a:pt x="2153" y="1017"/>
                      <a:pt x="2235" y="1017"/>
                    </a:cubicBezTo>
                    <a:cubicBezTo>
                      <a:pt x="2317" y="1017"/>
                      <a:pt x="2317" y="965"/>
                      <a:pt x="2406" y="965"/>
                    </a:cubicBezTo>
                    <a:cubicBezTo>
                      <a:pt x="2458" y="965"/>
                      <a:pt x="2465" y="950"/>
                      <a:pt x="2517" y="950"/>
                    </a:cubicBezTo>
                    <a:cubicBezTo>
                      <a:pt x="2599" y="950"/>
                      <a:pt x="2606" y="876"/>
                      <a:pt x="2747" y="876"/>
                    </a:cubicBezTo>
                    <a:cubicBezTo>
                      <a:pt x="2844" y="839"/>
                      <a:pt x="2762" y="735"/>
                      <a:pt x="2963" y="720"/>
                    </a:cubicBezTo>
                    <a:cubicBezTo>
                      <a:pt x="3089" y="564"/>
                      <a:pt x="3267" y="698"/>
                      <a:pt x="3297" y="646"/>
                    </a:cubicBezTo>
                    <a:cubicBezTo>
                      <a:pt x="3460" y="319"/>
                      <a:pt x="3586" y="571"/>
                      <a:pt x="3638" y="260"/>
                    </a:cubicBezTo>
                    <a:cubicBezTo>
                      <a:pt x="3601" y="193"/>
                      <a:pt x="3586" y="119"/>
                      <a:pt x="3571" y="74"/>
                    </a:cubicBezTo>
                    <a:cubicBezTo>
                      <a:pt x="3631" y="52"/>
                      <a:pt x="3683" y="66"/>
                      <a:pt x="3816" y="66"/>
                    </a:cubicBezTo>
                    <a:cubicBezTo>
                      <a:pt x="3891" y="66"/>
                      <a:pt x="3920" y="0"/>
                      <a:pt x="3995" y="0"/>
                    </a:cubicBezTo>
                    <a:cubicBezTo>
                      <a:pt x="4121" y="0"/>
                      <a:pt x="4180" y="171"/>
                      <a:pt x="4143" y="326"/>
                    </a:cubicBezTo>
                    <a:cubicBezTo>
                      <a:pt x="4121" y="452"/>
                      <a:pt x="4061" y="475"/>
                      <a:pt x="4039" y="601"/>
                    </a:cubicBezTo>
                    <a:cubicBezTo>
                      <a:pt x="4032" y="683"/>
                      <a:pt x="4329" y="638"/>
                      <a:pt x="4373" y="683"/>
                    </a:cubicBezTo>
                    <a:cubicBezTo>
                      <a:pt x="4388" y="742"/>
                      <a:pt x="4410" y="809"/>
                      <a:pt x="4410" y="861"/>
                    </a:cubicBezTo>
                    <a:cubicBezTo>
                      <a:pt x="4410" y="972"/>
                      <a:pt x="4536" y="1061"/>
                      <a:pt x="4514" y="1172"/>
                    </a:cubicBezTo>
                    <a:cubicBezTo>
                      <a:pt x="4447" y="1410"/>
                      <a:pt x="4321" y="1321"/>
                      <a:pt x="4284" y="1432"/>
                    </a:cubicBezTo>
                    <a:cubicBezTo>
                      <a:pt x="4284" y="1484"/>
                      <a:pt x="4299" y="1603"/>
                      <a:pt x="4299" y="1625"/>
                    </a:cubicBezTo>
                    <a:cubicBezTo>
                      <a:pt x="4299" y="1818"/>
                      <a:pt x="4165" y="1781"/>
                      <a:pt x="4173" y="2108"/>
                    </a:cubicBezTo>
                    <a:cubicBezTo>
                      <a:pt x="4180" y="2546"/>
                      <a:pt x="4343" y="2420"/>
                      <a:pt x="4395" y="2561"/>
                    </a:cubicBezTo>
                    <a:cubicBezTo>
                      <a:pt x="4433" y="2665"/>
                      <a:pt x="4336" y="2724"/>
                      <a:pt x="4410" y="2821"/>
                    </a:cubicBezTo>
                    <a:cubicBezTo>
                      <a:pt x="4484" y="2932"/>
                      <a:pt x="4767" y="3236"/>
                      <a:pt x="4893" y="3274"/>
                    </a:cubicBezTo>
                    <a:cubicBezTo>
                      <a:pt x="4960" y="3288"/>
                      <a:pt x="5026" y="3244"/>
                      <a:pt x="5086" y="3363"/>
                    </a:cubicBezTo>
                    <a:cubicBezTo>
                      <a:pt x="5086" y="3363"/>
                      <a:pt x="5108" y="3897"/>
                      <a:pt x="5145" y="4113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159"/>
              <p:cNvSpPr>
                <a:spLocks/>
              </p:cNvSpPr>
              <p:nvPr/>
            </p:nvSpPr>
            <p:spPr bwMode="auto">
              <a:xfrm>
                <a:off x="5127385" y="1433943"/>
                <a:ext cx="589624" cy="654141"/>
              </a:xfrm>
              <a:custGeom>
                <a:avLst/>
                <a:gdLst>
                  <a:gd name="T0" fmla="*/ 225 w 4210"/>
                  <a:gd name="T1" fmla="*/ 396 h 4663"/>
                  <a:gd name="T2" fmla="*/ 258 w 4210"/>
                  <a:gd name="T3" fmla="*/ 328 h 4663"/>
                  <a:gd name="T4" fmla="*/ 302 w 4210"/>
                  <a:gd name="T5" fmla="*/ 296 h 4663"/>
                  <a:gd name="T6" fmla="*/ 336 w 4210"/>
                  <a:gd name="T7" fmla="*/ 253 h 4663"/>
                  <a:gd name="T8" fmla="*/ 354 w 4210"/>
                  <a:gd name="T9" fmla="*/ 222 h 4663"/>
                  <a:gd name="T10" fmla="*/ 319 w 4210"/>
                  <a:gd name="T11" fmla="*/ 189 h 4663"/>
                  <a:gd name="T12" fmla="*/ 305 w 4210"/>
                  <a:gd name="T13" fmla="*/ 170 h 4663"/>
                  <a:gd name="T14" fmla="*/ 298 w 4210"/>
                  <a:gd name="T15" fmla="*/ 170 h 4663"/>
                  <a:gd name="T16" fmla="*/ 296 w 4210"/>
                  <a:gd name="T17" fmla="*/ 153 h 4663"/>
                  <a:gd name="T18" fmla="*/ 271 w 4210"/>
                  <a:gd name="T19" fmla="*/ 83 h 4663"/>
                  <a:gd name="T20" fmla="*/ 240 w 4210"/>
                  <a:gd name="T21" fmla="*/ 8 h 4663"/>
                  <a:gd name="T22" fmla="*/ 235 w 4210"/>
                  <a:gd name="T23" fmla="*/ 14 h 4663"/>
                  <a:gd name="T24" fmla="*/ 236 w 4210"/>
                  <a:gd name="T25" fmla="*/ 26 h 4663"/>
                  <a:gd name="T26" fmla="*/ 227 w 4210"/>
                  <a:gd name="T27" fmla="*/ 23 h 4663"/>
                  <a:gd name="T28" fmla="*/ 221 w 4210"/>
                  <a:gd name="T29" fmla="*/ 40 h 4663"/>
                  <a:gd name="T30" fmla="*/ 186 w 4210"/>
                  <a:gd name="T31" fmla="*/ 87 h 4663"/>
                  <a:gd name="T32" fmla="*/ 171 w 4210"/>
                  <a:gd name="T33" fmla="*/ 115 h 4663"/>
                  <a:gd name="T34" fmla="*/ 156 w 4210"/>
                  <a:gd name="T35" fmla="*/ 143 h 4663"/>
                  <a:gd name="T36" fmla="*/ 128 w 4210"/>
                  <a:gd name="T37" fmla="*/ 164 h 4663"/>
                  <a:gd name="T38" fmla="*/ 112 w 4210"/>
                  <a:gd name="T39" fmla="*/ 163 h 4663"/>
                  <a:gd name="T40" fmla="*/ 108 w 4210"/>
                  <a:gd name="T41" fmla="*/ 154 h 4663"/>
                  <a:gd name="T42" fmla="*/ 88 w 4210"/>
                  <a:gd name="T43" fmla="*/ 159 h 4663"/>
                  <a:gd name="T44" fmla="*/ 72 w 4210"/>
                  <a:gd name="T45" fmla="*/ 154 h 4663"/>
                  <a:gd name="T46" fmla="*/ 40 w 4210"/>
                  <a:gd name="T47" fmla="*/ 166 h 4663"/>
                  <a:gd name="T48" fmla="*/ 1 w 4210"/>
                  <a:gd name="T49" fmla="*/ 151 h 4663"/>
                  <a:gd name="T50" fmla="*/ 0 w 4210"/>
                  <a:gd name="T51" fmla="*/ 182 h 4663"/>
                  <a:gd name="T52" fmla="*/ 30 w 4210"/>
                  <a:gd name="T53" fmla="*/ 183 h 4663"/>
                  <a:gd name="T54" fmla="*/ 54 w 4210"/>
                  <a:gd name="T55" fmla="*/ 201 h 4663"/>
                  <a:gd name="T56" fmla="*/ 67 w 4210"/>
                  <a:gd name="T57" fmla="*/ 211 h 4663"/>
                  <a:gd name="T58" fmla="*/ 77 w 4210"/>
                  <a:gd name="T59" fmla="*/ 211 h 4663"/>
                  <a:gd name="T60" fmla="*/ 98 w 4210"/>
                  <a:gd name="T61" fmla="*/ 245 h 4663"/>
                  <a:gd name="T62" fmla="*/ 120 w 4210"/>
                  <a:gd name="T63" fmla="*/ 256 h 4663"/>
                  <a:gd name="T64" fmla="*/ 125 w 4210"/>
                  <a:gd name="T65" fmla="*/ 306 h 4663"/>
                  <a:gd name="T66" fmla="*/ 131 w 4210"/>
                  <a:gd name="T67" fmla="*/ 323 h 4663"/>
                  <a:gd name="T68" fmla="*/ 158 w 4210"/>
                  <a:gd name="T69" fmla="*/ 345 h 4663"/>
                  <a:gd name="T70" fmla="*/ 158 w 4210"/>
                  <a:gd name="T71" fmla="*/ 351 h 4663"/>
                  <a:gd name="T72" fmla="*/ 193 w 4210"/>
                  <a:gd name="T73" fmla="*/ 396 h 4663"/>
                  <a:gd name="T74" fmla="*/ 225 w 4210"/>
                  <a:gd name="T75" fmla="*/ 396 h 466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210" h="4663">
                    <a:moveTo>
                      <a:pt x="2658" y="4663"/>
                    </a:moveTo>
                    <a:cubicBezTo>
                      <a:pt x="2628" y="4076"/>
                      <a:pt x="2881" y="4195"/>
                      <a:pt x="3037" y="3861"/>
                    </a:cubicBezTo>
                    <a:cubicBezTo>
                      <a:pt x="3170" y="3586"/>
                      <a:pt x="3445" y="3623"/>
                      <a:pt x="3556" y="3482"/>
                    </a:cubicBezTo>
                    <a:cubicBezTo>
                      <a:pt x="3712" y="3274"/>
                      <a:pt x="3838" y="2955"/>
                      <a:pt x="3957" y="2977"/>
                    </a:cubicBezTo>
                    <a:cubicBezTo>
                      <a:pt x="4106" y="3000"/>
                      <a:pt x="4165" y="2896"/>
                      <a:pt x="4180" y="2614"/>
                    </a:cubicBezTo>
                    <a:cubicBezTo>
                      <a:pt x="4210" y="2198"/>
                      <a:pt x="3957" y="2250"/>
                      <a:pt x="3764" y="2228"/>
                    </a:cubicBezTo>
                    <a:cubicBezTo>
                      <a:pt x="3630" y="2198"/>
                      <a:pt x="3638" y="2019"/>
                      <a:pt x="3601" y="1997"/>
                    </a:cubicBezTo>
                    <a:lnTo>
                      <a:pt x="3512" y="1997"/>
                    </a:lnTo>
                    <a:cubicBezTo>
                      <a:pt x="3497" y="1960"/>
                      <a:pt x="3504" y="1849"/>
                      <a:pt x="3489" y="1804"/>
                    </a:cubicBezTo>
                    <a:cubicBezTo>
                      <a:pt x="3370" y="1456"/>
                      <a:pt x="3252" y="1359"/>
                      <a:pt x="3200" y="980"/>
                    </a:cubicBezTo>
                    <a:cubicBezTo>
                      <a:pt x="3155" y="668"/>
                      <a:pt x="3096" y="119"/>
                      <a:pt x="2836" y="97"/>
                    </a:cubicBezTo>
                    <a:cubicBezTo>
                      <a:pt x="2703" y="0"/>
                      <a:pt x="2769" y="164"/>
                      <a:pt x="2769" y="164"/>
                    </a:cubicBezTo>
                    <a:cubicBezTo>
                      <a:pt x="2799" y="208"/>
                      <a:pt x="2725" y="216"/>
                      <a:pt x="2784" y="312"/>
                    </a:cubicBezTo>
                    <a:cubicBezTo>
                      <a:pt x="2784" y="312"/>
                      <a:pt x="2725" y="342"/>
                      <a:pt x="2680" y="268"/>
                    </a:cubicBezTo>
                    <a:cubicBezTo>
                      <a:pt x="2643" y="342"/>
                      <a:pt x="2680" y="468"/>
                      <a:pt x="2606" y="468"/>
                    </a:cubicBezTo>
                    <a:cubicBezTo>
                      <a:pt x="2398" y="498"/>
                      <a:pt x="2250" y="988"/>
                      <a:pt x="2190" y="1025"/>
                    </a:cubicBezTo>
                    <a:cubicBezTo>
                      <a:pt x="2034" y="1114"/>
                      <a:pt x="2108" y="1284"/>
                      <a:pt x="2012" y="1351"/>
                    </a:cubicBezTo>
                    <a:cubicBezTo>
                      <a:pt x="1915" y="1418"/>
                      <a:pt x="1930" y="1567"/>
                      <a:pt x="1841" y="1678"/>
                    </a:cubicBezTo>
                    <a:cubicBezTo>
                      <a:pt x="1745" y="1819"/>
                      <a:pt x="1619" y="1930"/>
                      <a:pt x="1507" y="1930"/>
                    </a:cubicBezTo>
                    <a:cubicBezTo>
                      <a:pt x="1418" y="1930"/>
                      <a:pt x="1351" y="1938"/>
                      <a:pt x="1322" y="1916"/>
                    </a:cubicBezTo>
                    <a:lnTo>
                      <a:pt x="1270" y="1819"/>
                    </a:lnTo>
                    <a:cubicBezTo>
                      <a:pt x="1151" y="1797"/>
                      <a:pt x="1136" y="1878"/>
                      <a:pt x="1040" y="1878"/>
                    </a:cubicBezTo>
                    <a:cubicBezTo>
                      <a:pt x="950" y="1878"/>
                      <a:pt x="943" y="1812"/>
                      <a:pt x="854" y="1812"/>
                    </a:cubicBezTo>
                    <a:cubicBezTo>
                      <a:pt x="683" y="1812"/>
                      <a:pt x="750" y="1990"/>
                      <a:pt x="468" y="1953"/>
                    </a:cubicBezTo>
                    <a:cubicBezTo>
                      <a:pt x="275" y="1930"/>
                      <a:pt x="215" y="1760"/>
                      <a:pt x="15" y="1782"/>
                    </a:cubicBezTo>
                    <a:lnTo>
                      <a:pt x="0" y="2138"/>
                    </a:lnTo>
                    <a:cubicBezTo>
                      <a:pt x="119" y="2198"/>
                      <a:pt x="223" y="2116"/>
                      <a:pt x="349" y="2153"/>
                    </a:cubicBezTo>
                    <a:cubicBezTo>
                      <a:pt x="483" y="2191"/>
                      <a:pt x="550" y="2368"/>
                      <a:pt x="631" y="2368"/>
                    </a:cubicBezTo>
                    <a:cubicBezTo>
                      <a:pt x="705" y="2368"/>
                      <a:pt x="750" y="2487"/>
                      <a:pt x="795" y="2487"/>
                    </a:cubicBezTo>
                    <a:lnTo>
                      <a:pt x="906" y="2487"/>
                    </a:lnTo>
                    <a:cubicBezTo>
                      <a:pt x="1121" y="2487"/>
                      <a:pt x="1077" y="2673"/>
                      <a:pt x="1151" y="2888"/>
                    </a:cubicBezTo>
                    <a:cubicBezTo>
                      <a:pt x="1195" y="2992"/>
                      <a:pt x="1388" y="2955"/>
                      <a:pt x="1418" y="3014"/>
                    </a:cubicBezTo>
                    <a:cubicBezTo>
                      <a:pt x="1485" y="3155"/>
                      <a:pt x="1470" y="3467"/>
                      <a:pt x="1470" y="3601"/>
                    </a:cubicBezTo>
                    <a:cubicBezTo>
                      <a:pt x="1470" y="3675"/>
                      <a:pt x="1537" y="3720"/>
                      <a:pt x="1544" y="3801"/>
                    </a:cubicBezTo>
                    <a:cubicBezTo>
                      <a:pt x="1700" y="3801"/>
                      <a:pt x="1864" y="3935"/>
                      <a:pt x="1864" y="4061"/>
                    </a:cubicBezTo>
                    <a:lnTo>
                      <a:pt x="1864" y="4135"/>
                    </a:lnTo>
                    <a:cubicBezTo>
                      <a:pt x="1864" y="4292"/>
                      <a:pt x="2079" y="4581"/>
                      <a:pt x="2272" y="4663"/>
                    </a:cubicBezTo>
                    <a:lnTo>
                      <a:pt x="2658" y="466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160"/>
              <p:cNvSpPr>
                <a:spLocks/>
              </p:cNvSpPr>
              <p:nvPr/>
            </p:nvSpPr>
            <p:spPr bwMode="auto">
              <a:xfrm>
                <a:off x="4621993" y="1656946"/>
                <a:ext cx="1554163" cy="1463559"/>
              </a:xfrm>
              <a:custGeom>
                <a:avLst/>
                <a:gdLst>
                  <a:gd name="T0" fmla="*/ 935 w 11106"/>
                  <a:gd name="T1" fmla="*/ 267 h 10460"/>
                  <a:gd name="T2" fmla="*/ 922 w 11106"/>
                  <a:gd name="T3" fmla="*/ 259 h 10460"/>
                  <a:gd name="T4" fmla="*/ 892 w 11106"/>
                  <a:gd name="T5" fmla="*/ 248 h 10460"/>
                  <a:gd name="T6" fmla="*/ 877 w 11106"/>
                  <a:gd name="T7" fmla="*/ 241 h 10460"/>
                  <a:gd name="T8" fmla="*/ 844 w 11106"/>
                  <a:gd name="T9" fmla="*/ 234 h 10460"/>
                  <a:gd name="T10" fmla="*/ 813 w 11106"/>
                  <a:gd name="T11" fmla="*/ 235 h 10460"/>
                  <a:gd name="T12" fmla="*/ 774 w 11106"/>
                  <a:gd name="T13" fmla="*/ 259 h 10460"/>
                  <a:gd name="T14" fmla="*/ 738 w 11106"/>
                  <a:gd name="T15" fmla="*/ 304 h 10460"/>
                  <a:gd name="T16" fmla="*/ 685 w 11106"/>
                  <a:gd name="T17" fmla="*/ 371 h 10460"/>
                  <a:gd name="T18" fmla="*/ 682 w 11106"/>
                  <a:gd name="T19" fmla="*/ 319 h 10460"/>
                  <a:gd name="T20" fmla="*/ 650 w 11106"/>
                  <a:gd name="T21" fmla="*/ 316 h 10460"/>
                  <a:gd name="T22" fmla="*/ 593 w 11106"/>
                  <a:gd name="T23" fmla="*/ 274 h 10460"/>
                  <a:gd name="T24" fmla="*/ 584 w 11106"/>
                  <a:gd name="T25" fmla="*/ 251 h 10460"/>
                  <a:gd name="T26" fmla="*/ 510 w 11106"/>
                  <a:gd name="T27" fmla="*/ 286 h 10460"/>
                  <a:gd name="T28" fmla="*/ 499 w 11106"/>
                  <a:gd name="T29" fmla="*/ 260 h 10460"/>
                  <a:gd name="T30" fmla="*/ 464 w 11106"/>
                  <a:gd name="T31" fmla="*/ 209 h 10460"/>
                  <a:gd name="T32" fmla="*/ 431 w 11106"/>
                  <a:gd name="T33" fmla="*/ 170 h 10460"/>
                  <a:gd name="T34" fmla="*/ 404 w 11106"/>
                  <a:gd name="T35" fmla="*/ 110 h 10460"/>
                  <a:gd name="T36" fmla="*/ 374 w 11106"/>
                  <a:gd name="T37" fmla="*/ 76 h 10460"/>
                  <a:gd name="T38" fmla="*/ 336 w 11106"/>
                  <a:gd name="T39" fmla="*/ 48 h 10460"/>
                  <a:gd name="T40" fmla="*/ 308 w 11106"/>
                  <a:gd name="T41" fmla="*/ 16 h 10460"/>
                  <a:gd name="T42" fmla="*/ 286 w 11106"/>
                  <a:gd name="T43" fmla="*/ 1 h 10460"/>
                  <a:gd name="T44" fmla="*/ 214 w 11106"/>
                  <a:gd name="T45" fmla="*/ 11 h 10460"/>
                  <a:gd name="T46" fmla="*/ 221 w 11106"/>
                  <a:gd name="T47" fmla="*/ 47 h 10460"/>
                  <a:gd name="T48" fmla="*/ 170 w 11106"/>
                  <a:gd name="T49" fmla="*/ 46 h 10460"/>
                  <a:gd name="T50" fmla="*/ 129 w 11106"/>
                  <a:gd name="T51" fmla="*/ 44 h 10460"/>
                  <a:gd name="T52" fmla="*/ 80 w 11106"/>
                  <a:gd name="T53" fmla="*/ 65 h 10460"/>
                  <a:gd name="T54" fmla="*/ 48 w 11106"/>
                  <a:gd name="T55" fmla="*/ 75 h 10460"/>
                  <a:gd name="T56" fmla="*/ 0 w 11106"/>
                  <a:gd name="T57" fmla="*/ 97 h 10460"/>
                  <a:gd name="T58" fmla="*/ 14 w 11106"/>
                  <a:gd name="T59" fmla="*/ 221 h 10460"/>
                  <a:gd name="T60" fmla="*/ 53 w 11106"/>
                  <a:gd name="T61" fmla="*/ 279 h 10460"/>
                  <a:gd name="T62" fmla="*/ 85 w 11106"/>
                  <a:gd name="T63" fmla="*/ 300 h 10460"/>
                  <a:gd name="T64" fmla="*/ 149 w 11106"/>
                  <a:gd name="T65" fmla="*/ 321 h 10460"/>
                  <a:gd name="T66" fmla="*/ 186 w 11106"/>
                  <a:gd name="T67" fmla="*/ 353 h 10460"/>
                  <a:gd name="T68" fmla="*/ 49 w 11106"/>
                  <a:gd name="T69" fmla="*/ 675 h 10460"/>
                  <a:gd name="T70" fmla="*/ 99 w 11106"/>
                  <a:gd name="T71" fmla="*/ 799 h 10460"/>
                  <a:gd name="T72" fmla="*/ 142 w 11106"/>
                  <a:gd name="T73" fmla="*/ 838 h 10460"/>
                  <a:gd name="T74" fmla="*/ 633 w 11106"/>
                  <a:gd name="T75" fmla="*/ 886 h 10460"/>
                  <a:gd name="T76" fmla="*/ 708 w 11106"/>
                  <a:gd name="T77" fmla="*/ 760 h 10460"/>
                  <a:gd name="T78" fmla="*/ 709 w 11106"/>
                  <a:gd name="T79" fmla="*/ 688 h 10460"/>
                  <a:gd name="T80" fmla="*/ 750 w 11106"/>
                  <a:gd name="T81" fmla="*/ 652 h 10460"/>
                  <a:gd name="T82" fmla="*/ 776 w 11106"/>
                  <a:gd name="T83" fmla="*/ 607 h 10460"/>
                  <a:gd name="T84" fmla="*/ 767 w 11106"/>
                  <a:gd name="T85" fmla="*/ 571 h 10460"/>
                  <a:gd name="T86" fmla="*/ 763 w 11106"/>
                  <a:gd name="T87" fmla="*/ 551 h 10460"/>
                  <a:gd name="T88" fmla="*/ 824 w 11106"/>
                  <a:gd name="T89" fmla="*/ 512 h 10460"/>
                  <a:gd name="T90" fmla="*/ 864 w 11106"/>
                  <a:gd name="T91" fmla="*/ 465 h 10460"/>
                  <a:gd name="T92" fmla="*/ 901 w 11106"/>
                  <a:gd name="T93" fmla="*/ 392 h 10460"/>
                  <a:gd name="T94" fmla="*/ 933 w 11106"/>
                  <a:gd name="T95" fmla="*/ 320 h 10460"/>
                  <a:gd name="T96" fmla="*/ 941 w 11106"/>
                  <a:gd name="T97" fmla="*/ 268 h 104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1106" h="10460">
                    <a:moveTo>
                      <a:pt x="11106" y="3162"/>
                    </a:moveTo>
                    <a:cubicBezTo>
                      <a:pt x="11084" y="3155"/>
                      <a:pt x="11061" y="3155"/>
                      <a:pt x="11032" y="3155"/>
                    </a:cubicBezTo>
                    <a:cubicBezTo>
                      <a:pt x="11039" y="3103"/>
                      <a:pt x="11009" y="3140"/>
                      <a:pt x="10995" y="3044"/>
                    </a:cubicBezTo>
                    <a:cubicBezTo>
                      <a:pt x="10868" y="3007"/>
                      <a:pt x="10883" y="3059"/>
                      <a:pt x="10883" y="3059"/>
                    </a:cubicBezTo>
                    <a:cubicBezTo>
                      <a:pt x="10883" y="3118"/>
                      <a:pt x="10794" y="2955"/>
                      <a:pt x="10668" y="3014"/>
                    </a:cubicBezTo>
                    <a:cubicBezTo>
                      <a:pt x="10646" y="2873"/>
                      <a:pt x="10646" y="2933"/>
                      <a:pt x="10527" y="2933"/>
                    </a:cubicBezTo>
                    <a:cubicBezTo>
                      <a:pt x="10475" y="2933"/>
                      <a:pt x="10512" y="2910"/>
                      <a:pt x="10416" y="2933"/>
                    </a:cubicBezTo>
                    <a:cubicBezTo>
                      <a:pt x="10416" y="2888"/>
                      <a:pt x="10364" y="2918"/>
                      <a:pt x="10356" y="2843"/>
                    </a:cubicBezTo>
                    <a:cubicBezTo>
                      <a:pt x="10259" y="2784"/>
                      <a:pt x="10274" y="2866"/>
                      <a:pt x="10193" y="2836"/>
                    </a:cubicBezTo>
                    <a:cubicBezTo>
                      <a:pt x="10141" y="2829"/>
                      <a:pt x="10104" y="2740"/>
                      <a:pt x="9963" y="2762"/>
                    </a:cubicBezTo>
                    <a:cubicBezTo>
                      <a:pt x="9688" y="2821"/>
                      <a:pt x="9836" y="2703"/>
                      <a:pt x="9777" y="2695"/>
                    </a:cubicBezTo>
                    <a:cubicBezTo>
                      <a:pt x="9621" y="2680"/>
                      <a:pt x="9703" y="2784"/>
                      <a:pt x="9591" y="2777"/>
                    </a:cubicBezTo>
                    <a:cubicBezTo>
                      <a:pt x="9510" y="2762"/>
                      <a:pt x="9510" y="2821"/>
                      <a:pt x="9436" y="2777"/>
                    </a:cubicBezTo>
                    <a:cubicBezTo>
                      <a:pt x="9391" y="2740"/>
                      <a:pt x="9176" y="3014"/>
                      <a:pt x="9131" y="3059"/>
                    </a:cubicBezTo>
                    <a:cubicBezTo>
                      <a:pt x="9012" y="3192"/>
                      <a:pt x="9072" y="3326"/>
                      <a:pt x="9049" y="3378"/>
                    </a:cubicBezTo>
                    <a:cubicBezTo>
                      <a:pt x="8790" y="3378"/>
                      <a:pt x="8856" y="3511"/>
                      <a:pt x="8708" y="3593"/>
                    </a:cubicBezTo>
                    <a:cubicBezTo>
                      <a:pt x="8552" y="3682"/>
                      <a:pt x="8827" y="3719"/>
                      <a:pt x="8381" y="3860"/>
                    </a:cubicBezTo>
                    <a:cubicBezTo>
                      <a:pt x="8292" y="3883"/>
                      <a:pt x="8188" y="4454"/>
                      <a:pt x="8084" y="4380"/>
                    </a:cubicBezTo>
                    <a:cubicBezTo>
                      <a:pt x="7966" y="4365"/>
                      <a:pt x="8374" y="3771"/>
                      <a:pt x="8359" y="3682"/>
                    </a:cubicBezTo>
                    <a:cubicBezTo>
                      <a:pt x="8329" y="3556"/>
                      <a:pt x="8047" y="3727"/>
                      <a:pt x="8047" y="3771"/>
                    </a:cubicBezTo>
                    <a:cubicBezTo>
                      <a:pt x="7951" y="3771"/>
                      <a:pt x="7899" y="3771"/>
                      <a:pt x="7869" y="3816"/>
                    </a:cubicBezTo>
                    <a:cubicBezTo>
                      <a:pt x="7817" y="3898"/>
                      <a:pt x="7750" y="3727"/>
                      <a:pt x="7669" y="3727"/>
                    </a:cubicBezTo>
                    <a:cubicBezTo>
                      <a:pt x="7565" y="3727"/>
                      <a:pt x="7431" y="3816"/>
                      <a:pt x="7364" y="3875"/>
                    </a:cubicBezTo>
                    <a:cubicBezTo>
                      <a:pt x="7298" y="3935"/>
                      <a:pt x="7000" y="3497"/>
                      <a:pt x="7000" y="3237"/>
                    </a:cubicBezTo>
                    <a:cubicBezTo>
                      <a:pt x="7000" y="3215"/>
                      <a:pt x="6889" y="3192"/>
                      <a:pt x="6941" y="3111"/>
                    </a:cubicBezTo>
                    <a:cubicBezTo>
                      <a:pt x="7008" y="3022"/>
                      <a:pt x="6963" y="2940"/>
                      <a:pt x="6897" y="2969"/>
                    </a:cubicBezTo>
                    <a:cubicBezTo>
                      <a:pt x="6741" y="3022"/>
                      <a:pt x="6347" y="3474"/>
                      <a:pt x="6132" y="3452"/>
                    </a:cubicBezTo>
                    <a:cubicBezTo>
                      <a:pt x="6087" y="3452"/>
                      <a:pt x="6021" y="3445"/>
                      <a:pt x="6021" y="3378"/>
                    </a:cubicBezTo>
                    <a:cubicBezTo>
                      <a:pt x="6021" y="3096"/>
                      <a:pt x="6280" y="3215"/>
                      <a:pt x="6273" y="3074"/>
                    </a:cubicBezTo>
                    <a:lnTo>
                      <a:pt x="5887" y="3074"/>
                    </a:lnTo>
                    <a:cubicBezTo>
                      <a:pt x="5694" y="2992"/>
                      <a:pt x="5479" y="2703"/>
                      <a:pt x="5479" y="2546"/>
                    </a:cubicBezTo>
                    <a:lnTo>
                      <a:pt x="5479" y="2472"/>
                    </a:lnTo>
                    <a:cubicBezTo>
                      <a:pt x="5479" y="2346"/>
                      <a:pt x="5315" y="2212"/>
                      <a:pt x="5159" y="2212"/>
                    </a:cubicBezTo>
                    <a:cubicBezTo>
                      <a:pt x="5152" y="2131"/>
                      <a:pt x="5085" y="2086"/>
                      <a:pt x="5085" y="2012"/>
                    </a:cubicBezTo>
                    <a:cubicBezTo>
                      <a:pt x="5085" y="1878"/>
                      <a:pt x="5100" y="1566"/>
                      <a:pt x="5033" y="1425"/>
                    </a:cubicBezTo>
                    <a:cubicBezTo>
                      <a:pt x="5003" y="1366"/>
                      <a:pt x="4810" y="1403"/>
                      <a:pt x="4766" y="1299"/>
                    </a:cubicBezTo>
                    <a:cubicBezTo>
                      <a:pt x="4692" y="1084"/>
                      <a:pt x="4736" y="898"/>
                      <a:pt x="4521" y="898"/>
                    </a:cubicBezTo>
                    <a:lnTo>
                      <a:pt x="4410" y="898"/>
                    </a:lnTo>
                    <a:cubicBezTo>
                      <a:pt x="4365" y="898"/>
                      <a:pt x="4320" y="779"/>
                      <a:pt x="4246" y="779"/>
                    </a:cubicBezTo>
                    <a:cubicBezTo>
                      <a:pt x="4165" y="779"/>
                      <a:pt x="4098" y="602"/>
                      <a:pt x="3964" y="564"/>
                    </a:cubicBezTo>
                    <a:cubicBezTo>
                      <a:pt x="3838" y="527"/>
                      <a:pt x="3734" y="609"/>
                      <a:pt x="3615" y="549"/>
                    </a:cubicBezTo>
                    <a:lnTo>
                      <a:pt x="3630" y="193"/>
                    </a:lnTo>
                    <a:cubicBezTo>
                      <a:pt x="3630" y="193"/>
                      <a:pt x="3623" y="111"/>
                      <a:pt x="3548" y="89"/>
                    </a:cubicBezTo>
                    <a:cubicBezTo>
                      <a:pt x="3400" y="74"/>
                      <a:pt x="3496" y="15"/>
                      <a:pt x="3370" y="15"/>
                    </a:cubicBezTo>
                    <a:cubicBezTo>
                      <a:pt x="3133" y="15"/>
                      <a:pt x="3229" y="186"/>
                      <a:pt x="2806" y="141"/>
                    </a:cubicBezTo>
                    <a:cubicBezTo>
                      <a:pt x="2732" y="134"/>
                      <a:pt x="2591" y="0"/>
                      <a:pt x="2531" y="134"/>
                    </a:cubicBezTo>
                    <a:cubicBezTo>
                      <a:pt x="2494" y="215"/>
                      <a:pt x="2464" y="200"/>
                      <a:pt x="2442" y="260"/>
                    </a:cubicBezTo>
                    <a:cubicBezTo>
                      <a:pt x="2464" y="416"/>
                      <a:pt x="2606" y="386"/>
                      <a:pt x="2606" y="549"/>
                    </a:cubicBezTo>
                    <a:cubicBezTo>
                      <a:pt x="2606" y="646"/>
                      <a:pt x="2531" y="624"/>
                      <a:pt x="2457" y="624"/>
                    </a:cubicBezTo>
                    <a:cubicBezTo>
                      <a:pt x="2257" y="624"/>
                      <a:pt x="2205" y="542"/>
                      <a:pt x="2012" y="542"/>
                    </a:cubicBezTo>
                    <a:cubicBezTo>
                      <a:pt x="1937" y="542"/>
                      <a:pt x="1893" y="587"/>
                      <a:pt x="1789" y="587"/>
                    </a:cubicBezTo>
                    <a:cubicBezTo>
                      <a:pt x="1618" y="587"/>
                      <a:pt x="1692" y="520"/>
                      <a:pt x="1522" y="520"/>
                    </a:cubicBezTo>
                    <a:cubicBezTo>
                      <a:pt x="1344" y="520"/>
                      <a:pt x="1321" y="631"/>
                      <a:pt x="1225" y="705"/>
                    </a:cubicBezTo>
                    <a:cubicBezTo>
                      <a:pt x="1128" y="779"/>
                      <a:pt x="1054" y="743"/>
                      <a:pt x="950" y="772"/>
                    </a:cubicBezTo>
                    <a:cubicBezTo>
                      <a:pt x="839" y="809"/>
                      <a:pt x="854" y="920"/>
                      <a:pt x="683" y="920"/>
                    </a:cubicBezTo>
                    <a:cubicBezTo>
                      <a:pt x="638" y="928"/>
                      <a:pt x="623" y="891"/>
                      <a:pt x="572" y="884"/>
                    </a:cubicBezTo>
                    <a:cubicBezTo>
                      <a:pt x="356" y="846"/>
                      <a:pt x="408" y="1114"/>
                      <a:pt x="312" y="1114"/>
                    </a:cubicBezTo>
                    <a:cubicBezTo>
                      <a:pt x="133" y="1114"/>
                      <a:pt x="52" y="1255"/>
                      <a:pt x="0" y="1151"/>
                    </a:cubicBezTo>
                    <a:cubicBezTo>
                      <a:pt x="0" y="1151"/>
                      <a:pt x="29" y="1700"/>
                      <a:pt x="74" y="1915"/>
                    </a:cubicBezTo>
                    <a:cubicBezTo>
                      <a:pt x="74" y="1915"/>
                      <a:pt x="148" y="2561"/>
                      <a:pt x="171" y="2606"/>
                    </a:cubicBezTo>
                    <a:cubicBezTo>
                      <a:pt x="208" y="2665"/>
                      <a:pt x="467" y="3111"/>
                      <a:pt x="467" y="3111"/>
                    </a:cubicBezTo>
                    <a:cubicBezTo>
                      <a:pt x="467" y="3111"/>
                      <a:pt x="482" y="3304"/>
                      <a:pt x="623" y="3296"/>
                    </a:cubicBezTo>
                    <a:cubicBezTo>
                      <a:pt x="683" y="3363"/>
                      <a:pt x="735" y="3489"/>
                      <a:pt x="735" y="3489"/>
                    </a:cubicBezTo>
                    <a:cubicBezTo>
                      <a:pt x="824" y="3593"/>
                      <a:pt x="883" y="3511"/>
                      <a:pt x="1009" y="3541"/>
                    </a:cubicBezTo>
                    <a:cubicBezTo>
                      <a:pt x="1128" y="3564"/>
                      <a:pt x="1217" y="3653"/>
                      <a:pt x="1329" y="3564"/>
                    </a:cubicBezTo>
                    <a:cubicBezTo>
                      <a:pt x="1559" y="3564"/>
                      <a:pt x="1759" y="3794"/>
                      <a:pt x="1759" y="3794"/>
                    </a:cubicBezTo>
                    <a:cubicBezTo>
                      <a:pt x="1975" y="3838"/>
                      <a:pt x="1878" y="3972"/>
                      <a:pt x="2071" y="3957"/>
                    </a:cubicBezTo>
                    <a:cubicBezTo>
                      <a:pt x="2212" y="3935"/>
                      <a:pt x="2190" y="4165"/>
                      <a:pt x="2190" y="4165"/>
                    </a:cubicBezTo>
                    <a:lnTo>
                      <a:pt x="579" y="7780"/>
                    </a:lnTo>
                    <a:cubicBezTo>
                      <a:pt x="579" y="7780"/>
                      <a:pt x="490" y="7936"/>
                      <a:pt x="579" y="7973"/>
                    </a:cubicBezTo>
                    <a:cubicBezTo>
                      <a:pt x="742" y="8032"/>
                      <a:pt x="802" y="8292"/>
                      <a:pt x="765" y="8344"/>
                    </a:cubicBezTo>
                    <a:cubicBezTo>
                      <a:pt x="1054" y="8627"/>
                      <a:pt x="1106" y="8953"/>
                      <a:pt x="1173" y="9428"/>
                    </a:cubicBezTo>
                    <a:cubicBezTo>
                      <a:pt x="1188" y="9592"/>
                      <a:pt x="1410" y="9659"/>
                      <a:pt x="1566" y="9710"/>
                    </a:cubicBezTo>
                    <a:cubicBezTo>
                      <a:pt x="1648" y="9733"/>
                      <a:pt x="1655" y="9844"/>
                      <a:pt x="1678" y="9896"/>
                    </a:cubicBezTo>
                    <a:cubicBezTo>
                      <a:pt x="1745" y="10037"/>
                      <a:pt x="1878" y="10030"/>
                      <a:pt x="1952" y="10163"/>
                    </a:cubicBezTo>
                    <a:lnTo>
                      <a:pt x="7468" y="10460"/>
                    </a:lnTo>
                    <a:cubicBezTo>
                      <a:pt x="7468" y="10460"/>
                      <a:pt x="7535" y="9970"/>
                      <a:pt x="7936" y="9673"/>
                    </a:cubicBezTo>
                    <a:cubicBezTo>
                      <a:pt x="8121" y="9606"/>
                      <a:pt x="8278" y="9191"/>
                      <a:pt x="8359" y="8975"/>
                    </a:cubicBezTo>
                    <a:cubicBezTo>
                      <a:pt x="8478" y="8656"/>
                      <a:pt x="8240" y="8760"/>
                      <a:pt x="8240" y="8582"/>
                    </a:cubicBezTo>
                    <a:cubicBezTo>
                      <a:pt x="8240" y="8448"/>
                      <a:pt x="8418" y="8344"/>
                      <a:pt x="8366" y="8122"/>
                    </a:cubicBezTo>
                    <a:cubicBezTo>
                      <a:pt x="8315" y="7936"/>
                      <a:pt x="8611" y="7877"/>
                      <a:pt x="8723" y="7854"/>
                    </a:cubicBezTo>
                    <a:cubicBezTo>
                      <a:pt x="8849" y="7832"/>
                      <a:pt x="8819" y="7795"/>
                      <a:pt x="8849" y="7699"/>
                    </a:cubicBezTo>
                    <a:cubicBezTo>
                      <a:pt x="8871" y="7580"/>
                      <a:pt x="9005" y="7632"/>
                      <a:pt x="9020" y="7446"/>
                    </a:cubicBezTo>
                    <a:cubicBezTo>
                      <a:pt x="9012" y="7394"/>
                      <a:pt x="9154" y="7409"/>
                      <a:pt x="9161" y="7171"/>
                    </a:cubicBezTo>
                    <a:cubicBezTo>
                      <a:pt x="9161" y="6978"/>
                      <a:pt x="9309" y="6956"/>
                      <a:pt x="9257" y="6904"/>
                    </a:cubicBezTo>
                    <a:cubicBezTo>
                      <a:pt x="9176" y="6830"/>
                      <a:pt x="9138" y="6741"/>
                      <a:pt x="9049" y="6741"/>
                    </a:cubicBezTo>
                    <a:cubicBezTo>
                      <a:pt x="8983" y="6733"/>
                      <a:pt x="8849" y="6741"/>
                      <a:pt x="8849" y="6667"/>
                    </a:cubicBezTo>
                    <a:cubicBezTo>
                      <a:pt x="8849" y="6600"/>
                      <a:pt x="8931" y="6555"/>
                      <a:pt x="9005" y="6503"/>
                    </a:cubicBezTo>
                    <a:cubicBezTo>
                      <a:pt x="9124" y="6407"/>
                      <a:pt x="9495" y="6110"/>
                      <a:pt x="9554" y="6095"/>
                    </a:cubicBezTo>
                    <a:cubicBezTo>
                      <a:pt x="9658" y="6058"/>
                      <a:pt x="9606" y="6095"/>
                      <a:pt x="9725" y="6050"/>
                    </a:cubicBezTo>
                    <a:cubicBezTo>
                      <a:pt x="9799" y="6036"/>
                      <a:pt x="9911" y="5798"/>
                      <a:pt x="9977" y="5739"/>
                    </a:cubicBezTo>
                    <a:cubicBezTo>
                      <a:pt x="10119" y="5583"/>
                      <a:pt x="10059" y="5538"/>
                      <a:pt x="10200" y="5486"/>
                    </a:cubicBezTo>
                    <a:cubicBezTo>
                      <a:pt x="10311" y="5434"/>
                      <a:pt x="10156" y="5152"/>
                      <a:pt x="10512" y="4937"/>
                    </a:cubicBezTo>
                    <a:cubicBezTo>
                      <a:pt x="10601" y="4885"/>
                      <a:pt x="10638" y="4625"/>
                      <a:pt x="10638" y="4625"/>
                    </a:cubicBezTo>
                    <a:cubicBezTo>
                      <a:pt x="10564" y="4328"/>
                      <a:pt x="10846" y="4484"/>
                      <a:pt x="10831" y="4091"/>
                    </a:cubicBezTo>
                    <a:cubicBezTo>
                      <a:pt x="10824" y="4046"/>
                      <a:pt x="10920" y="4113"/>
                      <a:pt x="11017" y="3779"/>
                    </a:cubicBezTo>
                    <a:cubicBezTo>
                      <a:pt x="11039" y="3690"/>
                      <a:pt x="10905" y="3697"/>
                      <a:pt x="11002" y="3578"/>
                    </a:cubicBezTo>
                    <a:cubicBezTo>
                      <a:pt x="11076" y="3489"/>
                      <a:pt x="11084" y="3229"/>
                      <a:pt x="11106" y="3162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161"/>
              <p:cNvSpPr>
                <a:spLocks/>
              </p:cNvSpPr>
              <p:nvPr/>
            </p:nvSpPr>
            <p:spPr bwMode="auto">
              <a:xfrm>
                <a:off x="6164594" y="2311087"/>
                <a:ext cx="673856" cy="949826"/>
              </a:xfrm>
              <a:custGeom>
                <a:avLst/>
                <a:gdLst>
                  <a:gd name="T0" fmla="*/ 362 w 4818"/>
                  <a:gd name="T1" fmla="*/ 13 h 6786"/>
                  <a:gd name="T2" fmla="*/ 348 w 4818"/>
                  <a:gd name="T3" fmla="*/ 36 h 6786"/>
                  <a:gd name="T4" fmla="*/ 355 w 4818"/>
                  <a:gd name="T5" fmla="*/ 48 h 6786"/>
                  <a:gd name="T6" fmla="*/ 347 w 4818"/>
                  <a:gd name="T7" fmla="*/ 60 h 6786"/>
                  <a:gd name="T8" fmla="*/ 359 w 4818"/>
                  <a:gd name="T9" fmla="*/ 92 h 6786"/>
                  <a:gd name="T10" fmla="*/ 366 w 4818"/>
                  <a:gd name="T11" fmla="*/ 111 h 6786"/>
                  <a:gd name="T12" fmla="*/ 359 w 4818"/>
                  <a:gd name="T13" fmla="*/ 136 h 6786"/>
                  <a:gd name="T14" fmla="*/ 368 w 4818"/>
                  <a:gd name="T15" fmla="*/ 174 h 6786"/>
                  <a:gd name="T16" fmla="*/ 365 w 4818"/>
                  <a:gd name="T17" fmla="*/ 206 h 6786"/>
                  <a:gd name="T18" fmla="*/ 380 w 4818"/>
                  <a:gd name="T19" fmla="*/ 234 h 6786"/>
                  <a:gd name="T20" fmla="*/ 385 w 4818"/>
                  <a:gd name="T21" fmla="*/ 265 h 6786"/>
                  <a:gd name="T22" fmla="*/ 408 w 4818"/>
                  <a:gd name="T23" fmla="*/ 300 h 6786"/>
                  <a:gd name="T24" fmla="*/ 398 w 4818"/>
                  <a:gd name="T25" fmla="*/ 322 h 6786"/>
                  <a:gd name="T26" fmla="*/ 395 w 4818"/>
                  <a:gd name="T27" fmla="*/ 336 h 6786"/>
                  <a:gd name="T28" fmla="*/ 389 w 4818"/>
                  <a:gd name="T29" fmla="*/ 355 h 6786"/>
                  <a:gd name="T30" fmla="*/ 397 w 4818"/>
                  <a:gd name="T31" fmla="*/ 387 h 6786"/>
                  <a:gd name="T32" fmla="*/ 357 w 4818"/>
                  <a:gd name="T33" fmla="*/ 415 h 6786"/>
                  <a:gd name="T34" fmla="*/ 328 w 4818"/>
                  <a:gd name="T35" fmla="*/ 443 h 6786"/>
                  <a:gd name="T36" fmla="*/ 309 w 4818"/>
                  <a:gd name="T37" fmla="*/ 455 h 6786"/>
                  <a:gd name="T38" fmla="*/ 287 w 4818"/>
                  <a:gd name="T39" fmla="*/ 467 h 6786"/>
                  <a:gd name="T40" fmla="*/ 238 w 4818"/>
                  <a:gd name="T41" fmla="*/ 486 h 6786"/>
                  <a:gd name="T42" fmla="*/ 216 w 4818"/>
                  <a:gd name="T43" fmla="*/ 476 h 6786"/>
                  <a:gd name="T44" fmla="*/ 200 w 4818"/>
                  <a:gd name="T45" fmla="*/ 476 h 6786"/>
                  <a:gd name="T46" fmla="*/ 184 w 4818"/>
                  <a:gd name="T47" fmla="*/ 469 h 6786"/>
                  <a:gd name="T48" fmla="*/ 171 w 4818"/>
                  <a:gd name="T49" fmla="*/ 474 h 6786"/>
                  <a:gd name="T50" fmla="*/ 158 w 4818"/>
                  <a:gd name="T51" fmla="*/ 477 h 6786"/>
                  <a:gd name="T52" fmla="*/ 165 w 4818"/>
                  <a:gd name="T53" fmla="*/ 490 h 6786"/>
                  <a:gd name="T54" fmla="*/ 166 w 4818"/>
                  <a:gd name="T55" fmla="*/ 520 h 6786"/>
                  <a:gd name="T56" fmla="*/ 123 w 4818"/>
                  <a:gd name="T57" fmla="*/ 560 h 6786"/>
                  <a:gd name="T58" fmla="*/ 77 w 4818"/>
                  <a:gd name="T59" fmla="*/ 575 h 6786"/>
                  <a:gd name="T60" fmla="*/ 45 w 4818"/>
                  <a:gd name="T61" fmla="*/ 562 h 6786"/>
                  <a:gd name="T62" fmla="*/ 30 w 4818"/>
                  <a:gd name="T63" fmla="*/ 535 h 6786"/>
                  <a:gd name="T64" fmla="*/ 7 w 4818"/>
                  <a:gd name="T65" fmla="*/ 534 h 6786"/>
                  <a:gd name="T66" fmla="*/ 0 w 4818"/>
                  <a:gd name="T67" fmla="*/ 529 h 6786"/>
                  <a:gd name="T68" fmla="*/ 13 w 4818"/>
                  <a:gd name="T69" fmla="*/ 504 h 6786"/>
                  <a:gd name="T70" fmla="*/ 16 w 4818"/>
                  <a:gd name="T71" fmla="*/ 471 h 6786"/>
                  <a:gd name="T72" fmla="*/ 6 w 4818"/>
                  <a:gd name="T73" fmla="*/ 432 h 6786"/>
                  <a:gd name="T74" fmla="*/ 23 w 4818"/>
                  <a:gd name="T75" fmla="*/ 405 h 6786"/>
                  <a:gd name="T76" fmla="*/ 36 w 4818"/>
                  <a:gd name="T77" fmla="*/ 376 h 6786"/>
                  <a:gd name="T78" fmla="*/ 69 w 4818"/>
                  <a:gd name="T79" fmla="*/ 333 h 6786"/>
                  <a:gd name="T80" fmla="*/ 106 w 4818"/>
                  <a:gd name="T81" fmla="*/ 318 h 6786"/>
                  <a:gd name="T82" fmla="*/ 133 w 4818"/>
                  <a:gd name="T83" fmla="*/ 299 h 6786"/>
                  <a:gd name="T84" fmla="*/ 160 w 4818"/>
                  <a:gd name="T85" fmla="*/ 278 h 6786"/>
                  <a:gd name="T86" fmla="*/ 204 w 4818"/>
                  <a:gd name="T87" fmla="*/ 286 h 6786"/>
                  <a:gd name="T88" fmla="*/ 235 w 4818"/>
                  <a:gd name="T89" fmla="*/ 256 h 6786"/>
                  <a:gd name="T90" fmla="*/ 218 w 4818"/>
                  <a:gd name="T91" fmla="*/ 216 h 6786"/>
                  <a:gd name="T92" fmla="*/ 239 w 4818"/>
                  <a:gd name="T93" fmla="*/ 167 h 6786"/>
                  <a:gd name="T94" fmla="*/ 231 w 4818"/>
                  <a:gd name="T95" fmla="*/ 135 h 6786"/>
                  <a:gd name="T96" fmla="*/ 236 w 4818"/>
                  <a:gd name="T97" fmla="*/ 120 h 6786"/>
                  <a:gd name="T98" fmla="*/ 233 w 4818"/>
                  <a:gd name="T99" fmla="*/ 101 h 6786"/>
                  <a:gd name="T100" fmla="*/ 251 w 4818"/>
                  <a:gd name="T101" fmla="*/ 77 h 6786"/>
                  <a:gd name="T102" fmla="*/ 266 w 4818"/>
                  <a:gd name="T103" fmla="*/ 50 h 6786"/>
                  <a:gd name="T104" fmla="*/ 282 w 4818"/>
                  <a:gd name="T105" fmla="*/ 46 h 6786"/>
                  <a:gd name="T106" fmla="*/ 317 w 4818"/>
                  <a:gd name="T107" fmla="*/ 9 h 6786"/>
                  <a:gd name="T108" fmla="*/ 317 w 4818"/>
                  <a:gd name="T109" fmla="*/ 0 h 6786"/>
                  <a:gd name="T110" fmla="*/ 326 w 4818"/>
                  <a:gd name="T111" fmla="*/ 10 h 6786"/>
                  <a:gd name="T112" fmla="*/ 362 w 4818"/>
                  <a:gd name="T113" fmla="*/ 13 h 678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818" h="6786">
                    <a:moveTo>
                      <a:pt x="4276" y="149"/>
                    </a:moveTo>
                    <a:cubicBezTo>
                      <a:pt x="4209" y="223"/>
                      <a:pt x="4254" y="342"/>
                      <a:pt x="4105" y="423"/>
                    </a:cubicBezTo>
                    <a:cubicBezTo>
                      <a:pt x="3994" y="490"/>
                      <a:pt x="4098" y="542"/>
                      <a:pt x="4194" y="572"/>
                    </a:cubicBezTo>
                    <a:cubicBezTo>
                      <a:pt x="4179" y="638"/>
                      <a:pt x="4068" y="654"/>
                      <a:pt x="4098" y="705"/>
                    </a:cubicBezTo>
                    <a:cubicBezTo>
                      <a:pt x="4165" y="832"/>
                      <a:pt x="4172" y="943"/>
                      <a:pt x="4239" y="1084"/>
                    </a:cubicBezTo>
                    <a:cubicBezTo>
                      <a:pt x="4254" y="1129"/>
                      <a:pt x="4321" y="1240"/>
                      <a:pt x="4321" y="1314"/>
                    </a:cubicBezTo>
                    <a:cubicBezTo>
                      <a:pt x="4321" y="1448"/>
                      <a:pt x="4246" y="1470"/>
                      <a:pt x="4239" y="1604"/>
                    </a:cubicBezTo>
                    <a:cubicBezTo>
                      <a:pt x="4216" y="1908"/>
                      <a:pt x="4350" y="1848"/>
                      <a:pt x="4343" y="2049"/>
                    </a:cubicBezTo>
                    <a:cubicBezTo>
                      <a:pt x="4335" y="2168"/>
                      <a:pt x="4313" y="2316"/>
                      <a:pt x="4313" y="2435"/>
                    </a:cubicBezTo>
                    <a:cubicBezTo>
                      <a:pt x="4313" y="2591"/>
                      <a:pt x="4462" y="2613"/>
                      <a:pt x="4484" y="2762"/>
                    </a:cubicBezTo>
                    <a:cubicBezTo>
                      <a:pt x="4499" y="2918"/>
                      <a:pt x="4528" y="2984"/>
                      <a:pt x="4551" y="3126"/>
                    </a:cubicBezTo>
                    <a:cubicBezTo>
                      <a:pt x="4536" y="3378"/>
                      <a:pt x="4818" y="3281"/>
                      <a:pt x="4818" y="3541"/>
                    </a:cubicBezTo>
                    <a:cubicBezTo>
                      <a:pt x="4818" y="3667"/>
                      <a:pt x="4699" y="3712"/>
                      <a:pt x="4699" y="3801"/>
                    </a:cubicBezTo>
                    <a:cubicBezTo>
                      <a:pt x="4699" y="3823"/>
                      <a:pt x="4647" y="3964"/>
                      <a:pt x="4662" y="3964"/>
                    </a:cubicBezTo>
                    <a:cubicBezTo>
                      <a:pt x="4573" y="3994"/>
                      <a:pt x="4588" y="4083"/>
                      <a:pt x="4588" y="4187"/>
                    </a:cubicBezTo>
                    <a:cubicBezTo>
                      <a:pt x="4588" y="4358"/>
                      <a:pt x="4729" y="4336"/>
                      <a:pt x="4692" y="4573"/>
                    </a:cubicBezTo>
                    <a:cubicBezTo>
                      <a:pt x="4647" y="4803"/>
                      <a:pt x="4261" y="4833"/>
                      <a:pt x="4216" y="4900"/>
                    </a:cubicBezTo>
                    <a:cubicBezTo>
                      <a:pt x="4127" y="5063"/>
                      <a:pt x="3957" y="5011"/>
                      <a:pt x="3875" y="5227"/>
                    </a:cubicBezTo>
                    <a:cubicBezTo>
                      <a:pt x="3853" y="5286"/>
                      <a:pt x="3667" y="5271"/>
                      <a:pt x="3652" y="5368"/>
                    </a:cubicBezTo>
                    <a:cubicBezTo>
                      <a:pt x="3623" y="5509"/>
                      <a:pt x="3481" y="5516"/>
                      <a:pt x="3385" y="5516"/>
                    </a:cubicBezTo>
                    <a:cubicBezTo>
                      <a:pt x="3192" y="5516"/>
                      <a:pt x="3044" y="5731"/>
                      <a:pt x="2806" y="5731"/>
                    </a:cubicBezTo>
                    <a:cubicBezTo>
                      <a:pt x="2643" y="5731"/>
                      <a:pt x="2635" y="5702"/>
                      <a:pt x="2546" y="5613"/>
                    </a:cubicBezTo>
                    <a:cubicBezTo>
                      <a:pt x="2509" y="5568"/>
                      <a:pt x="2427" y="5613"/>
                      <a:pt x="2361" y="5613"/>
                    </a:cubicBezTo>
                    <a:cubicBezTo>
                      <a:pt x="2294" y="5613"/>
                      <a:pt x="2212" y="5501"/>
                      <a:pt x="2175" y="5531"/>
                    </a:cubicBezTo>
                    <a:cubicBezTo>
                      <a:pt x="2101" y="5553"/>
                      <a:pt x="2116" y="5590"/>
                      <a:pt x="2019" y="5590"/>
                    </a:cubicBezTo>
                    <a:cubicBezTo>
                      <a:pt x="1967" y="5590"/>
                      <a:pt x="1863" y="5590"/>
                      <a:pt x="1863" y="5628"/>
                    </a:cubicBezTo>
                    <a:cubicBezTo>
                      <a:pt x="1863" y="5672"/>
                      <a:pt x="1900" y="5746"/>
                      <a:pt x="1945" y="5783"/>
                    </a:cubicBezTo>
                    <a:cubicBezTo>
                      <a:pt x="1945" y="5850"/>
                      <a:pt x="1974" y="6088"/>
                      <a:pt x="1960" y="6140"/>
                    </a:cubicBezTo>
                    <a:cubicBezTo>
                      <a:pt x="1863" y="6333"/>
                      <a:pt x="1640" y="6637"/>
                      <a:pt x="1455" y="6607"/>
                    </a:cubicBezTo>
                    <a:cubicBezTo>
                      <a:pt x="1098" y="6541"/>
                      <a:pt x="1180" y="6786"/>
                      <a:pt x="906" y="6786"/>
                    </a:cubicBezTo>
                    <a:cubicBezTo>
                      <a:pt x="772" y="6786"/>
                      <a:pt x="653" y="6786"/>
                      <a:pt x="527" y="6637"/>
                    </a:cubicBezTo>
                    <a:cubicBezTo>
                      <a:pt x="393" y="6548"/>
                      <a:pt x="520" y="6392"/>
                      <a:pt x="349" y="6318"/>
                    </a:cubicBezTo>
                    <a:cubicBezTo>
                      <a:pt x="252" y="6281"/>
                      <a:pt x="200" y="6318"/>
                      <a:pt x="81" y="6303"/>
                    </a:cubicBezTo>
                    <a:cubicBezTo>
                      <a:pt x="52" y="6303"/>
                      <a:pt x="22" y="6273"/>
                      <a:pt x="0" y="6244"/>
                    </a:cubicBezTo>
                    <a:cubicBezTo>
                      <a:pt x="22" y="6140"/>
                      <a:pt x="178" y="6073"/>
                      <a:pt x="156" y="5947"/>
                    </a:cubicBezTo>
                    <a:lnTo>
                      <a:pt x="193" y="5553"/>
                    </a:lnTo>
                    <a:cubicBezTo>
                      <a:pt x="171" y="5434"/>
                      <a:pt x="52" y="5323"/>
                      <a:pt x="67" y="5100"/>
                    </a:cubicBezTo>
                    <a:cubicBezTo>
                      <a:pt x="52" y="4922"/>
                      <a:pt x="245" y="4982"/>
                      <a:pt x="267" y="4781"/>
                    </a:cubicBezTo>
                    <a:cubicBezTo>
                      <a:pt x="282" y="4588"/>
                      <a:pt x="364" y="4596"/>
                      <a:pt x="423" y="4432"/>
                    </a:cubicBezTo>
                    <a:cubicBezTo>
                      <a:pt x="482" y="4284"/>
                      <a:pt x="438" y="3927"/>
                      <a:pt x="816" y="3927"/>
                    </a:cubicBezTo>
                    <a:cubicBezTo>
                      <a:pt x="1069" y="3927"/>
                      <a:pt x="995" y="3779"/>
                      <a:pt x="1247" y="3749"/>
                    </a:cubicBezTo>
                    <a:cubicBezTo>
                      <a:pt x="1366" y="3734"/>
                      <a:pt x="1485" y="3608"/>
                      <a:pt x="1566" y="3534"/>
                    </a:cubicBezTo>
                    <a:cubicBezTo>
                      <a:pt x="1640" y="3452"/>
                      <a:pt x="1715" y="3281"/>
                      <a:pt x="1886" y="3281"/>
                    </a:cubicBezTo>
                    <a:cubicBezTo>
                      <a:pt x="2026" y="3281"/>
                      <a:pt x="2279" y="3378"/>
                      <a:pt x="2413" y="3378"/>
                    </a:cubicBezTo>
                    <a:cubicBezTo>
                      <a:pt x="2709" y="3378"/>
                      <a:pt x="2776" y="3281"/>
                      <a:pt x="2776" y="3022"/>
                    </a:cubicBezTo>
                    <a:cubicBezTo>
                      <a:pt x="2776" y="2836"/>
                      <a:pt x="2569" y="2843"/>
                      <a:pt x="2569" y="2554"/>
                    </a:cubicBezTo>
                    <a:cubicBezTo>
                      <a:pt x="2569" y="2257"/>
                      <a:pt x="2828" y="2279"/>
                      <a:pt x="2828" y="1975"/>
                    </a:cubicBezTo>
                    <a:cubicBezTo>
                      <a:pt x="2828" y="1819"/>
                      <a:pt x="2732" y="1722"/>
                      <a:pt x="2732" y="1589"/>
                    </a:cubicBezTo>
                    <a:cubicBezTo>
                      <a:pt x="2732" y="1522"/>
                      <a:pt x="2784" y="1492"/>
                      <a:pt x="2784" y="1418"/>
                    </a:cubicBezTo>
                    <a:cubicBezTo>
                      <a:pt x="2784" y="1337"/>
                      <a:pt x="2747" y="1262"/>
                      <a:pt x="2747" y="1188"/>
                    </a:cubicBezTo>
                    <a:cubicBezTo>
                      <a:pt x="2747" y="1039"/>
                      <a:pt x="2850" y="1024"/>
                      <a:pt x="2962" y="913"/>
                    </a:cubicBezTo>
                    <a:cubicBezTo>
                      <a:pt x="3044" y="832"/>
                      <a:pt x="2962" y="646"/>
                      <a:pt x="3140" y="594"/>
                    </a:cubicBezTo>
                    <a:cubicBezTo>
                      <a:pt x="3192" y="572"/>
                      <a:pt x="3237" y="564"/>
                      <a:pt x="3333" y="542"/>
                    </a:cubicBezTo>
                    <a:cubicBezTo>
                      <a:pt x="3481" y="505"/>
                      <a:pt x="3742" y="260"/>
                      <a:pt x="3742" y="104"/>
                    </a:cubicBezTo>
                    <a:cubicBezTo>
                      <a:pt x="3742" y="104"/>
                      <a:pt x="3749" y="37"/>
                      <a:pt x="3749" y="0"/>
                    </a:cubicBezTo>
                    <a:cubicBezTo>
                      <a:pt x="3868" y="0"/>
                      <a:pt x="3794" y="104"/>
                      <a:pt x="3845" y="119"/>
                    </a:cubicBezTo>
                    <a:cubicBezTo>
                      <a:pt x="3994" y="178"/>
                      <a:pt x="4157" y="141"/>
                      <a:pt x="4276" y="149"/>
                    </a:cubicBez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162"/>
              <p:cNvSpPr>
                <a:spLocks/>
              </p:cNvSpPr>
              <p:nvPr/>
            </p:nvSpPr>
            <p:spPr bwMode="auto">
              <a:xfrm>
                <a:off x="4747515" y="3979478"/>
                <a:ext cx="822501" cy="845759"/>
              </a:xfrm>
              <a:custGeom>
                <a:avLst/>
                <a:gdLst>
                  <a:gd name="T0" fmla="*/ 498 w 5872"/>
                  <a:gd name="T1" fmla="*/ 175 h 6043"/>
                  <a:gd name="T2" fmla="*/ 465 w 5872"/>
                  <a:gd name="T3" fmla="*/ 156 h 6043"/>
                  <a:gd name="T4" fmla="*/ 423 w 5872"/>
                  <a:gd name="T5" fmla="*/ 143 h 6043"/>
                  <a:gd name="T6" fmla="*/ 394 w 5872"/>
                  <a:gd name="T7" fmla="*/ 123 h 6043"/>
                  <a:gd name="T8" fmla="*/ 358 w 5872"/>
                  <a:gd name="T9" fmla="*/ 110 h 6043"/>
                  <a:gd name="T10" fmla="*/ 367 w 5872"/>
                  <a:gd name="T11" fmla="*/ 97 h 6043"/>
                  <a:gd name="T12" fmla="*/ 348 w 5872"/>
                  <a:gd name="T13" fmla="*/ 69 h 6043"/>
                  <a:gd name="T14" fmla="*/ 314 w 5872"/>
                  <a:gd name="T15" fmla="*/ 47 h 6043"/>
                  <a:gd name="T16" fmla="*/ 300 w 5872"/>
                  <a:gd name="T17" fmla="*/ 19 h 6043"/>
                  <a:gd name="T18" fmla="*/ 285 w 5872"/>
                  <a:gd name="T19" fmla="*/ 30 h 6043"/>
                  <a:gd name="T20" fmla="*/ 241 w 5872"/>
                  <a:gd name="T21" fmla="*/ 29 h 6043"/>
                  <a:gd name="T22" fmla="*/ 219 w 5872"/>
                  <a:gd name="T23" fmla="*/ 40 h 6043"/>
                  <a:gd name="T24" fmla="*/ 193 w 5872"/>
                  <a:gd name="T25" fmla="*/ 33 h 6043"/>
                  <a:gd name="T26" fmla="*/ 125 w 5872"/>
                  <a:gd name="T27" fmla="*/ 14 h 6043"/>
                  <a:gd name="T28" fmla="*/ 103 w 5872"/>
                  <a:gd name="T29" fmla="*/ 20 h 6043"/>
                  <a:gd name="T30" fmla="*/ 68 w 5872"/>
                  <a:gd name="T31" fmla="*/ 53 h 6043"/>
                  <a:gd name="T32" fmla="*/ 50 w 5872"/>
                  <a:gd name="T33" fmla="*/ 60 h 6043"/>
                  <a:gd name="T34" fmla="*/ 39 w 5872"/>
                  <a:gd name="T35" fmla="*/ 88 h 6043"/>
                  <a:gd name="T36" fmla="*/ 27 w 5872"/>
                  <a:gd name="T37" fmla="*/ 153 h 6043"/>
                  <a:gd name="T38" fmla="*/ 5 w 5872"/>
                  <a:gd name="T39" fmla="*/ 204 h 6043"/>
                  <a:gd name="T40" fmla="*/ 23 w 5872"/>
                  <a:gd name="T41" fmla="*/ 223 h 6043"/>
                  <a:gd name="T42" fmla="*/ 11 w 5872"/>
                  <a:gd name="T43" fmla="*/ 230 h 6043"/>
                  <a:gd name="T44" fmla="*/ 0 w 5872"/>
                  <a:gd name="T45" fmla="*/ 213 h 6043"/>
                  <a:gd name="T46" fmla="*/ 0 w 5872"/>
                  <a:gd name="T47" fmla="*/ 225 h 6043"/>
                  <a:gd name="T48" fmla="*/ 23 w 5872"/>
                  <a:gd name="T49" fmla="*/ 298 h 6043"/>
                  <a:gd name="T50" fmla="*/ 20 w 5872"/>
                  <a:gd name="T51" fmla="*/ 345 h 6043"/>
                  <a:gd name="T52" fmla="*/ 21 w 5872"/>
                  <a:gd name="T53" fmla="*/ 374 h 6043"/>
                  <a:gd name="T54" fmla="*/ 33 w 5872"/>
                  <a:gd name="T55" fmla="*/ 374 h 6043"/>
                  <a:gd name="T56" fmla="*/ 50 w 5872"/>
                  <a:gd name="T57" fmla="*/ 381 h 6043"/>
                  <a:gd name="T58" fmla="*/ 69 w 5872"/>
                  <a:gd name="T59" fmla="*/ 381 h 6043"/>
                  <a:gd name="T60" fmla="*/ 94 w 5872"/>
                  <a:gd name="T61" fmla="*/ 386 h 6043"/>
                  <a:gd name="T62" fmla="*/ 117 w 5872"/>
                  <a:gd name="T63" fmla="*/ 371 h 6043"/>
                  <a:gd name="T64" fmla="*/ 140 w 5872"/>
                  <a:gd name="T65" fmla="*/ 385 h 6043"/>
                  <a:gd name="T66" fmla="*/ 169 w 5872"/>
                  <a:gd name="T67" fmla="*/ 401 h 6043"/>
                  <a:gd name="T68" fmla="*/ 175 w 5872"/>
                  <a:gd name="T69" fmla="*/ 415 h 6043"/>
                  <a:gd name="T70" fmla="*/ 174 w 5872"/>
                  <a:gd name="T71" fmla="*/ 432 h 6043"/>
                  <a:gd name="T72" fmla="*/ 182 w 5872"/>
                  <a:gd name="T73" fmla="*/ 449 h 6043"/>
                  <a:gd name="T74" fmla="*/ 182 w 5872"/>
                  <a:gd name="T75" fmla="*/ 477 h 6043"/>
                  <a:gd name="T76" fmla="*/ 203 w 5872"/>
                  <a:gd name="T77" fmla="*/ 510 h 6043"/>
                  <a:gd name="T78" fmla="*/ 245 w 5872"/>
                  <a:gd name="T79" fmla="*/ 495 h 6043"/>
                  <a:gd name="T80" fmla="*/ 265 w 5872"/>
                  <a:gd name="T81" fmla="*/ 510 h 6043"/>
                  <a:gd name="T82" fmla="*/ 282 w 5872"/>
                  <a:gd name="T83" fmla="*/ 497 h 6043"/>
                  <a:gd name="T84" fmla="*/ 289 w 5872"/>
                  <a:gd name="T85" fmla="*/ 464 h 6043"/>
                  <a:gd name="T86" fmla="*/ 305 w 5872"/>
                  <a:gd name="T87" fmla="*/ 449 h 6043"/>
                  <a:gd name="T88" fmla="*/ 327 w 5872"/>
                  <a:gd name="T89" fmla="*/ 415 h 6043"/>
                  <a:gd name="T90" fmla="*/ 382 w 5872"/>
                  <a:gd name="T91" fmla="*/ 377 h 6043"/>
                  <a:gd name="T92" fmla="*/ 416 w 5872"/>
                  <a:gd name="T93" fmla="*/ 331 h 6043"/>
                  <a:gd name="T94" fmla="*/ 428 w 5872"/>
                  <a:gd name="T95" fmla="*/ 318 h 6043"/>
                  <a:gd name="T96" fmla="*/ 444 w 5872"/>
                  <a:gd name="T97" fmla="*/ 282 h 6043"/>
                  <a:gd name="T98" fmla="*/ 465 w 5872"/>
                  <a:gd name="T99" fmla="*/ 245 h 6043"/>
                  <a:gd name="T100" fmla="*/ 490 w 5872"/>
                  <a:gd name="T101" fmla="*/ 220 h 6043"/>
                  <a:gd name="T102" fmla="*/ 498 w 5872"/>
                  <a:gd name="T103" fmla="*/ 174 h 6043"/>
                  <a:gd name="T104" fmla="*/ 498 w 5872"/>
                  <a:gd name="T105" fmla="*/ 175 h 604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872" h="6043">
                    <a:moveTo>
                      <a:pt x="5872" y="2064"/>
                    </a:moveTo>
                    <a:cubicBezTo>
                      <a:pt x="5768" y="1916"/>
                      <a:pt x="5523" y="1968"/>
                      <a:pt x="5479" y="1841"/>
                    </a:cubicBezTo>
                    <a:cubicBezTo>
                      <a:pt x="5442" y="1745"/>
                      <a:pt x="5056" y="1775"/>
                      <a:pt x="4989" y="1685"/>
                    </a:cubicBezTo>
                    <a:cubicBezTo>
                      <a:pt x="4833" y="1448"/>
                      <a:pt x="4714" y="1582"/>
                      <a:pt x="4647" y="1448"/>
                    </a:cubicBezTo>
                    <a:cubicBezTo>
                      <a:pt x="4499" y="1396"/>
                      <a:pt x="4195" y="1426"/>
                      <a:pt x="4224" y="1299"/>
                    </a:cubicBezTo>
                    <a:cubicBezTo>
                      <a:pt x="4247" y="1203"/>
                      <a:pt x="4321" y="1240"/>
                      <a:pt x="4328" y="1143"/>
                    </a:cubicBezTo>
                    <a:cubicBezTo>
                      <a:pt x="4336" y="1047"/>
                      <a:pt x="3898" y="1225"/>
                      <a:pt x="4098" y="817"/>
                    </a:cubicBezTo>
                    <a:cubicBezTo>
                      <a:pt x="3942" y="862"/>
                      <a:pt x="3712" y="609"/>
                      <a:pt x="3697" y="557"/>
                    </a:cubicBezTo>
                    <a:cubicBezTo>
                      <a:pt x="3623" y="423"/>
                      <a:pt x="3734" y="223"/>
                      <a:pt x="3534" y="223"/>
                    </a:cubicBezTo>
                    <a:cubicBezTo>
                      <a:pt x="3534" y="223"/>
                      <a:pt x="3430" y="253"/>
                      <a:pt x="3356" y="357"/>
                    </a:cubicBezTo>
                    <a:cubicBezTo>
                      <a:pt x="3222" y="468"/>
                      <a:pt x="2888" y="297"/>
                      <a:pt x="2836" y="342"/>
                    </a:cubicBezTo>
                    <a:cubicBezTo>
                      <a:pt x="2799" y="364"/>
                      <a:pt x="2606" y="460"/>
                      <a:pt x="2584" y="468"/>
                    </a:cubicBezTo>
                    <a:cubicBezTo>
                      <a:pt x="2457" y="513"/>
                      <a:pt x="2368" y="379"/>
                      <a:pt x="2279" y="394"/>
                    </a:cubicBezTo>
                    <a:cubicBezTo>
                      <a:pt x="2064" y="416"/>
                      <a:pt x="1819" y="0"/>
                      <a:pt x="1470" y="164"/>
                    </a:cubicBezTo>
                    <a:cubicBezTo>
                      <a:pt x="1396" y="193"/>
                      <a:pt x="1255" y="253"/>
                      <a:pt x="1210" y="238"/>
                    </a:cubicBezTo>
                    <a:cubicBezTo>
                      <a:pt x="1084" y="186"/>
                      <a:pt x="973" y="557"/>
                      <a:pt x="802" y="631"/>
                    </a:cubicBezTo>
                    <a:cubicBezTo>
                      <a:pt x="720" y="683"/>
                      <a:pt x="661" y="616"/>
                      <a:pt x="587" y="713"/>
                    </a:cubicBezTo>
                    <a:cubicBezTo>
                      <a:pt x="520" y="795"/>
                      <a:pt x="572" y="988"/>
                      <a:pt x="460" y="1040"/>
                    </a:cubicBezTo>
                    <a:cubicBezTo>
                      <a:pt x="483" y="1218"/>
                      <a:pt x="290" y="1478"/>
                      <a:pt x="319" y="1804"/>
                    </a:cubicBezTo>
                    <a:cubicBezTo>
                      <a:pt x="282" y="2005"/>
                      <a:pt x="22" y="2257"/>
                      <a:pt x="59" y="2413"/>
                    </a:cubicBezTo>
                    <a:cubicBezTo>
                      <a:pt x="67" y="2443"/>
                      <a:pt x="275" y="2591"/>
                      <a:pt x="267" y="2629"/>
                    </a:cubicBezTo>
                    <a:cubicBezTo>
                      <a:pt x="245" y="2673"/>
                      <a:pt x="149" y="2673"/>
                      <a:pt x="134" y="2717"/>
                    </a:cubicBezTo>
                    <a:cubicBezTo>
                      <a:pt x="119" y="2762"/>
                      <a:pt x="8" y="2472"/>
                      <a:pt x="0" y="2517"/>
                    </a:cubicBezTo>
                    <a:lnTo>
                      <a:pt x="0" y="2651"/>
                    </a:lnTo>
                    <a:cubicBezTo>
                      <a:pt x="0" y="3111"/>
                      <a:pt x="275" y="3074"/>
                      <a:pt x="275" y="3512"/>
                    </a:cubicBezTo>
                    <a:cubicBezTo>
                      <a:pt x="275" y="3690"/>
                      <a:pt x="230" y="3883"/>
                      <a:pt x="230" y="4076"/>
                    </a:cubicBezTo>
                    <a:cubicBezTo>
                      <a:pt x="245" y="4254"/>
                      <a:pt x="126" y="4417"/>
                      <a:pt x="245" y="4417"/>
                    </a:cubicBezTo>
                    <a:lnTo>
                      <a:pt x="386" y="4417"/>
                    </a:lnTo>
                    <a:cubicBezTo>
                      <a:pt x="505" y="4417"/>
                      <a:pt x="498" y="4492"/>
                      <a:pt x="594" y="4492"/>
                    </a:cubicBezTo>
                    <a:lnTo>
                      <a:pt x="817" y="4492"/>
                    </a:lnTo>
                    <a:cubicBezTo>
                      <a:pt x="973" y="4492"/>
                      <a:pt x="958" y="4551"/>
                      <a:pt x="1114" y="4551"/>
                    </a:cubicBezTo>
                    <a:cubicBezTo>
                      <a:pt x="1247" y="4551"/>
                      <a:pt x="1314" y="4455"/>
                      <a:pt x="1381" y="4380"/>
                    </a:cubicBezTo>
                    <a:cubicBezTo>
                      <a:pt x="1522" y="4329"/>
                      <a:pt x="1500" y="4573"/>
                      <a:pt x="1656" y="4544"/>
                    </a:cubicBezTo>
                    <a:cubicBezTo>
                      <a:pt x="1849" y="4514"/>
                      <a:pt x="1938" y="4551"/>
                      <a:pt x="1990" y="4737"/>
                    </a:cubicBezTo>
                    <a:cubicBezTo>
                      <a:pt x="2005" y="4811"/>
                      <a:pt x="2064" y="4833"/>
                      <a:pt x="2064" y="4900"/>
                    </a:cubicBezTo>
                    <a:cubicBezTo>
                      <a:pt x="2064" y="4989"/>
                      <a:pt x="2049" y="5019"/>
                      <a:pt x="2049" y="5093"/>
                    </a:cubicBezTo>
                    <a:cubicBezTo>
                      <a:pt x="2049" y="5175"/>
                      <a:pt x="2108" y="5256"/>
                      <a:pt x="2146" y="5294"/>
                    </a:cubicBezTo>
                    <a:cubicBezTo>
                      <a:pt x="2175" y="5442"/>
                      <a:pt x="2146" y="5635"/>
                      <a:pt x="2146" y="5635"/>
                    </a:cubicBezTo>
                    <a:cubicBezTo>
                      <a:pt x="2272" y="5709"/>
                      <a:pt x="2108" y="6006"/>
                      <a:pt x="2391" y="6021"/>
                    </a:cubicBezTo>
                    <a:cubicBezTo>
                      <a:pt x="2658" y="6043"/>
                      <a:pt x="2717" y="5843"/>
                      <a:pt x="2888" y="5843"/>
                    </a:cubicBezTo>
                    <a:cubicBezTo>
                      <a:pt x="3007" y="5843"/>
                      <a:pt x="3118" y="6006"/>
                      <a:pt x="3125" y="6021"/>
                    </a:cubicBezTo>
                    <a:cubicBezTo>
                      <a:pt x="3192" y="5939"/>
                      <a:pt x="3296" y="5962"/>
                      <a:pt x="3326" y="5865"/>
                    </a:cubicBezTo>
                    <a:cubicBezTo>
                      <a:pt x="3363" y="5746"/>
                      <a:pt x="3341" y="5576"/>
                      <a:pt x="3408" y="5472"/>
                    </a:cubicBezTo>
                    <a:cubicBezTo>
                      <a:pt x="3474" y="5375"/>
                      <a:pt x="3571" y="5383"/>
                      <a:pt x="3593" y="5294"/>
                    </a:cubicBezTo>
                    <a:cubicBezTo>
                      <a:pt x="3667" y="5086"/>
                      <a:pt x="3667" y="4967"/>
                      <a:pt x="3860" y="4900"/>
                    </a:cubicBezTo>
                    <a:cubicBezTo>
                      <a:pt x="4261" y="4766"/>
                      <a:pt x="4128" y="4551"/>
                      <a:pt x="4506" y="4455"/>
                    </a:cubicBezTo>
                    <a:cubicBezTo>
                      <a:pt x="4692" y="4395"/>
                      <a:pt x="4907" y="4017"/>
                      <a:pt x="4900" y="3905"/>
                    </a:cubicBezTo>
                    <a:cubicBezTo>
                      <a:pt x="4878" y="3772"/>
                      <a:pt x="5011" y="3868"/>
                      <a:pt x="5048" y="3757"/>
                    </a:cubicBezTo>
                    <a:cubicBezTo>
                      <a:pt x="5056" y="3415"/>
                      <a:pt x="5227" y="3415"/>
                      <a:pt x="5241" y="3326"/>
                    </a:cubicBezTo>
                    <a:cubicBezTo>
                      <a:pt x="5301" y="2925"/>
                      <a:pt x="5442" y="3015"/>
                      <a:pt x="5486" y="2896"/>
                    </a:cubicBezTo>
                    <a:cubicBezTo>
                      <a:pt x="5561" y="2703"/>
                      <a:pt x="5791" y="2911"/>
                      <a:pt x="5783" y="2599"/>
                    </a:cubicBezTo>
                    <a:cubicBezTo>
                      <a:pt x="5768" y="2235"/>
                      <a:pt x="5872" y="2205"/>
                      <a:pt x="5872" y="2057"/>
                    </a:cubicBezTo>
                    <a:lnTo>
                      <a:pt x="5872" y="206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163"/>
              <p:cNvSpPr>
                <a:spLocks/>
              </p:cNvSpPr>
              <p:nvPr/>
            </p:nvSpPr>
            <p:spPr bwMode="auto">
              <a:xfrm>
                <a:off x="5236391" y="5048240"/>
                <a:ext cx="601185" cy="416272"/>
              </a:xfrm>
              <a:custGeom>
                <a:avLst/>
                <a:gdLst>
                  <a:gd name="T0" fmla="*/ 7 w 4291"/>
                  <a:gd name="T1" fmla="*/ 16 h 2973"/>
                  <a:gd name="T2" fmla="*/ 8 w 4291"/>
                  <a:gd name="T3" fmla="*/ 25 h 2973"/>
                  <a:gd name="T4" fmla="*/ 7 w 4291"/>
                  <a:gd name="T5" fmla="*/ 73 h 2973"/>
                  <a:gd name="T6" fmla="*/ 0 w 4291"/>
                  <a:gd name="T7" fmla="*/ 87 h 2973"/>
                  <a:gd name="T8" fmla="*/ 8 w 4291"/>
                  <a:gd name="T9" fmla="*/ 87 h 2973"/>
                  <a:gd name="T10" fmla="*/ 32 w 4291"/>
                  <a:gd name="T11" fmla="*/ 80 h 2973"/>
                  <a:gd name="T12" fmla="*/ 69 w 4291"/>
                  <a:gd name="T13" fmla="*/ 89 h 2973"/>
                  <a:gd name="T14" fmla="*/ 96 w 4291"/>
                  <a:gd name="T15" fmla="*/ 90 h 2973"/>
                  <a:gd name="T16" fmla="*/ 137 w 4291"/>
                  <a:gd name="T17" fmla="*/ 110 h 2973"/>
                  <a:gd name="T18" fmla="*/ 186 w 4291"/>
                  <a:gd name="T19" fmla="*/ 142 h 2973"/>
                  <a:gd name="T20" fmla="*/ 211 w 4291"/>
                  <a:gd name="T21" fmla="*/ 174 h 2973"/>
                  <a:gd name="T22" fmla="*/ 245 w 4291"/>
                  <a:gd name="T23" fmla="*/ 179 h 2973"/>
                  <a:gd name="T24" fmla="*/ 267 w 4291"/>
                  <a:gd name="T25" fmla="*/ 189 h 2973"/>
                  <a:gd name="T26" fmla="*/ 259 w 4291"/>
                  <a:gd name="T27" fmla="*/ 197 h 2973"/>
                  <a:gd name="T28" fmla="*/ 245 w 4291"/>
                  <a:gd name="T29" fmla="*/ 225 h 2973"/>
                  <a:gd name="T30" fmla="*/ 234 w 4291"/>
                  <a:gd name="T31" fmla="*/ 237 h 2973"/>
                  <a:gd name="T32" fmla="*/ 249 w 4291"/>
                  <a:gd name="T33" fmla="*/ 236 h 2973"/>
                  <a:gd name="T34" fmla="*/ 272 w 4291"/>
                  <a:gd name="T35" fmla="*/ 252 h 2973"/>
                  <a:gd name="T36" fmla="*/ 310 w 4291"/>
                  <a:gd name="T37" fmla="*/ 211 h 2973"/>
                  <a:gd name="T38" fmla="*/ 332 w 4291"/>
                  <a:gd name="T39" fmla="*/ 195 h 2973"/>
                  <a:gd name="T40" fmla="*/ 344 w 4291"/>
                  <a:gd name="T41" fmla="*/ 181 h 2973"/>
                  <a:gd name="T42" fmla="*/ 351 w 4291"/>
                  <a:gd name="T43" fmla="*/ 157 h 2973"/>
                  <a:gd name="T44" fmla="*/ 363 w 4291"/>
                  <a:gd name="T45" fmla="*/ 110 h 2973"/>
                  <a:gd name="T46" fmla="*/ 358 w 4291"/>
                  <a:gd name="T47" fmla="*/ 81 h 2973"/>
                  <a:gd name="T48" fmla="*/ 354 w 4291"/>
                  <a:gd name="T49" fmla="*/ 59 h 2973"/>
                  <a:gd name="T50" fmla="*/ 348 w 4291"/>
                  <a:gd name="T51" fmla="*/ 30 h 2973"/>
                  <a:gd name="T52" fmla="*/ 358 w 4291"/>
                  <a:gd name="T53" fmla="*/ 28 h 2973"/>
                  <a:gd name="T54" fmla="*/ 356 w 4291"/>
                  <a:gd name="T55" fmla="*/ 3 h 2973"/>
                  <a:gd name="T56" fmla="*/ 309 w 4291"/>
                  <a:gd name="T57" fmla="*/ 4 h 2973"/>
                  <a:gd name="T58" fmla="*/ 283 w 4291"/>
                  <a:gd name="T59" fmla="*/ 20 h 2973"/>
                  <a:gd name="T60" fmla="*/ 253 w 4291"/>
                  <a:gd name="T61" fmla="*/ 4 h 2973"/>
                  <a:gd name="T62" fmla="*/ 231 w 4291"/>
                  <a:gd name="T63" fmla="*/ 6 h 2973"/>
                  <a:gd name="T64" fmla="*/ 215 w 4291"/>
                  <a:gd name="T65" fmla="*/ 4 h 2973"/>
                  <a:gd name="T66" fmla="*/ 205 w 4291"/>
                  <a:gd name="T67" fmla="*/ 16 h 2973"/>
                  <a:gd name="T68" fmla="*/ 171 w 4291"/>
                  <a:gd name="T69" fmla="*/ 31 h 2973"/>
                  <a:gd name="T70" fmla="*/ 171 w 4291"/>
                  <a:gd name="T71" fmla="*/ 47 h 2973"/>
                  <a:gd name="T72" fmla="*/ 154 w 4291"/>
                  <a:gd name="T73" fmla="*/ 48 h 2973"/>
                  <a:gd name="T74" fmla="*/ 113 w 4291"/>
                  <a:gd name="T75" fmla="*/ 38 h 2973"/>
                  <a:gd name="T76" fmla="*/ 68 w 4291"/>
                  <a:gd name="T77" fmla="*/ 25 h 2973"/>
                  <a:gd name="T78" fmla="*/ 50 w 4291"/>
                  <a:gd name="T79" fmla="*/ 25 h 2973"/>
                  <a:gd name="T80" fmla="*/ 22 w 4291"/>
                  <a:gd name="T81" fmla="*/ 20 h 2973"/>
                  <a:gd name="T82" fmla="*/ 7 w 4291"/>
                  <a:gd name="T83" fmla="*/ 16 h 297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291" h="2973">
                    <a:moveTo>
                      <a:pt x="81" y="193"/>
                    </a:moveTo>
                    <a:cubicBezTo>
                      <a:pt x="89" y="230"/>
                      <a:pt x="89" y="275"/>
                      <a:pt x="89" y="290"/>
                    </a:cubicBezTo>
                    <a:cubicBezTo>
                      <a:pt x="89" y="542"/>
                      <a:pt x="111" y="661"/>
                      <a:pt x="81" y="861"/>
                    </a:cubicBezTo>
                    <a:cubicBezTo>
                      <a:pt x="74" y="928"/>
                      <a:pt x="44" y="980"/>
                      <a:pt x="0" y="1024"/>
                    </a:cubicBezTo>
                    <a:cubicBezTo>
                      <a:pt x="37" y="1024"/>
                      <a:pt x="59" y="1032"/>
                      <a:pt x="96" y="1032"/>
                    </a:cubicBezTo>
                    <a:cubicBezTo>
                      <a:pt x="237" y="1032"/>
                      <a:pt x="275" y="943"/>
                      <a:pt x="378" y="943"/>
                    </a:cubicBezTo>
                    <a:cubicBezTo>
                      <a:pt x="549" y="943"/>
                      <a:pt x="690" y="1017"/>
                      <a:pt x="809" y="1054"/>
                    </a:cubicBezTo>
                    <a:cubicBezTo>
                      <a:pt x="920" y="1091"/>
                      <a:pt x="1009" y="1039"/>
                      <a:pt x="1128" y="1062"/>
                    </a:cubicBezTo>
                    <a:cubicBezTo>
                      <a:pt x="1433" y="1106"/>
                      <a:pt x="1418" y="1270"/>
                      <a:pt x="1611" y="1292"/>
                    </a:cubicBezTo>
                    <a:cubicBezTo>
                      <a:pt x="1789" y="1314"/>
                      <a:pt x="2116" y="1567"/>
                      <a:pt x="2190" y="1678"/>
                    </a:cubicBezTo>
                    <a:cubicBezTo>
                      <a:pt x="2264" y="1789"/>
                      <a:pt x="2368" y="1982"/>
                      <a:pt x="2487" y="2057"/>
                    </a:cubicBezTo>
                    <a:cubicBezTo>
                      <a:pt x="2650" y="2153"/>
                      <a:pt x="2702" y="2138"/>
                      <a:pt x="2888" y="2116"/>
                    </a:cubicBezTo>
                    <a:cubicBezTo>
                      <a:pt x="3110" y="2101"/>
                      <a:pt x="3147" y="2153"/>
                      <a:pt x="3147" y="2235"/>
                    </a:cubicBezTo>
                    <a:cubicBezTo>
                      <a:pt x="3147" y="2272"/>
                      <a:pt x="3081" y="2294"/>
                      <a:pt x="3051" y="2324"/>
                    </a:cubicBezTo>
                    <a:cubicBezTo>
                      <a:pt x="2850" y="2487"/>
                      <a:pt x="2984" y="2561"/>
                      <a:pt x="2888" y="2658"/>
                    </a:cubicBezTo>
                    <a:cubicBezTo>
                      <a:pt x="2843" y="2702"/>
                      <a:pt x="2754" y="2725"/>
                      <a:pt x="2761" y="2792"/>
                    </a:cubicBezTo>
                    <a:cubicBezTo>
                      <a:pt x="2791" y="2918"/>
                      <a:pt x="2895" y="2784"/>
                      <a:pt x="2940" y="2784"/>
                    </a:cubicBezTo>
                    <a:cubicBezTo>
                      <a:pt x="3081" y="2784"/>
                      <a:pt x="3204" y="2973"/>
                      <a:pt x="3204" y="2973"/>
                    </a:cubicBezTo>
                    <a:cubicBezTo>
                      <a:pt x="3367" y="2758"/>
                      <a:pt x="3525" y="2588"/>
                      <a:pt x="3651" y="2491"/>
                    </a:cubicBezTo>
                    <a:cubicBezTo>
                      <a:pt x="3726" y="2432"/>
                      <a:pt x="3933" y="2347"/>
                      <a:pt x="3918" y="2303"/>
                    </a:cubicBezTo>
                    <a:cubicBezTo>
                      <a:pt x="3911" y="2266"/>
                      <a:pt x="4043" y="2213"/>
                      <a:pt x="4059" y="2132"/>
                    </a:cubicBezTo>
                    <a:cubicBezTo>
                      <a:pt x="4130" y="2005"/>
                      <a:pt x="4134" y="1987"/>
                      <a:pt x="4134" y="1853"/>
                    </a:cubicBezTo>
                    <a:cubicBezTo>
                      <a:pt x="4134" y="1734"/>
                      <a:pt x="4267" y="1687"/>
                      <a:pt x="4275" y="1293"/>
                    </a:cubicBezTo>
                    <a:cubicBezTo>
                      <a:pt x="4275" y="1122"/>
                      <a:pt x="4222" y="1063"/>
                      <a:pt x="4222" y="959"/>
                    </a:cubicBezTo>
                    <a:cubicBezTo>
                      <a:pt x="4222" y="833"/>
                      <a:pt x="4148" y="744"/>
                      <a:pt x="4178" y="692"/>
                    </a:cubicBezTo>
                    <a:cubicBezTo>
                      <a:pt x="4291" y="457"/>
                      <a:pt x="4060" y="587"/>
                      <a:pt x="4105" y="357"/>
                    </a:cubicBezTo>
                    <a:cubicBezTo>
                      <a:pt x="4156" y="312"/>
                      <a:pt x="4156" y="334"/>
                      <a:pt x="4216" y="334"/>
                    </a:cubicBezTo>
                    <a:cubicBezTo>
                      <a:pt x="4223" y="394"/>
                      <a:pt x="4164" y="223"/>
                      <a:pt x="4201" y="37"/>
                    </a:cubicBezTo>
                    <a:cubicBezTo>
                      <a:pt x="4053" y="60"/>
                      <a:pt x="3801" y="45"/>
                      <a:pt x="3645" y="45"/>
                    </a:cubicBezTo>
                    <a:cubicBezTo>
                      <a:pt x="3504" y="60"/>
                      <a:pt x="3430" y="238"/>
                      <a:pt x="3333" y="238"/>
                    </a:cubicBezTo>
                    <a:cubicBezTo>
                      <a:pt x="3184" y="238"/>
                      <a:pt x="3170" y="0"/>
                      <a:pt x="2984" y="52"/>
                    </a:cubicBezTo>
                    <a:cubicBezTo>
                      <a:pt x="2895" y="74"/>
                      <a:pt x="2821" y="74"/>
                      <a:pt x="2724" y="74"/>
                    </a:cubicBezTo>
                    <a:cubicBezTo>
                      <a:pt x="2643" y="74"/>
                      <a:pt x="2613" y="52"/>
                      <a:pt x="2539" y="52"/>
                    </a:cubicBezTo>
                    <a:cubicBezTo>
                      <a:pt x="2457" y="52"/>
                      <a:pt x="2450" y="171"/>
                      <a:pt x="2412" y="193"/>
                    </a:cubicBezTo>
                    <a:cubicBezTo>
                      <a:pt x="2301" y="267"/>
                      <a:pt x="2019" y="156"/>
                      <a:pt x="2019" y="364"/>
                    </a:cubicBezTo>
                    <a:cubicBezTo>
                      <a:pt x="2019" y="453"/>
                      <a:pt x="1997" y="483"/>
                      <a:pt x="2019" y="557"/>
                    </a:cubicBezTo>
                    <a:cubicBezTo>
                      <a:pt x="1915" y="564"/>
                      <a:pt x="1841" y="572"/>
                      <a:pt x="1811" y="564"/>
                    </a:cubicBezTo>
                    <a:cubicBezTo>
                      <a:pt x="1744" y="490"/>
                      <a:pt x="1440" y="586"/>
                      <a:pt x="1329" y="453"/>
                    </a:cubicBezTo>
                    <a:cubicBezTo>
                      <a:pt x="1217" y="334"/>
                      <a:pt x="965" y="379"/>
                      <a:pt x="801" y="290"/>
                    </a:cubicBezTo>
                    <a:cubicBezTo>
                      <a:pt x="757" y="275"/>
                      <a:pt x="698" y="371"/>
                      <a:pt x="594" y="290"/>
                    </a:cubicBezTo>
                    <a:cubicBezTo>
                      <a:pt x="549" y="252"/>
                      <a:pt x="334" y="215"/>
                      <a:pt x="260" y="238"/>
                    </a:cubicBezTo>
                    <a:cubicBezTo>
                      <a:pt x="148" y="282"/>
                      <a:pt x="119" y="223"/>
                      <a:pt x="81" y="193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169"/>
              <p:cNvSpPr>
                <a:spLocks/>
              </p:cNvSpPr>
              <p:nvPr/>
            </p:nvSpPr>
            <p:spPr bwMode="auto">
              <a:xfrm>
                <a:off x="6562961" y="4101900"/>
                <a:ext cx="279123" cy="414621"/>
              </a:xfrm>
              <a:custGeom>
                <a:avLst/>
                <a:gdLst>
                  <a:gd name="T0" fmla="*/ 65 w 1997"/>
                  <a:gd name="T1" fmla="*/ 248 h 2962"/>
                  <a:gd name="T2" fmla="*/ 72 w 1997"/>
                  <a:gd name="T3" fmla="*/ 233 h 2962"/>
                  <a:gd name="T4" fmla="*/ 80 w 1997"/>
                  <a:gd name="T5" fmla="*/ 220 h 2962"/>
                  <a:gd name="T6" fmla="*/ 106 w 1997"/>
                  <a:gd name="T7" fmla="*/ 200 h 2962"/>
                  <a:gd name="T8" fmla="*/ 124 w 1997"/>
                  <a:gd name="T9" fmla="*/ 167 h 2962"/>
                  <a:gd name="T10" fmla="*/ 133 w 1997"/>
                  <a:gd name="T11" fmla="*/ 149 h 2962"/>
                  <a:gd name="T12" fmla="*/ 151 w 1997"/>
                  <a:gd name="T13" fmla="*/ 135 h 2962"/>
                  <a:gd name="T14" fmla="*/ 160 w 1997"/>
                  <a:gd name="T15" fmla="*/ 113 h 2962"/>
                  <a:gd name="T16" fmla="*/ 163 w 1997"/>
                  <a:gd name="T17" fmla="*/ 65 h 2962"/>
                  <a:gd name="T18" fmla="*/ 169 w 1997"/>
                  <a:gd name="T19" fmla="*/ 36 h 2962"/>
                  <a:gd name="T20" fmla="*/ 133 w 1997"/>
                  <a:gd name="T21" fmla="*/ 9 h 2962"/>
                  <a:gd name="T22" fmla="*/ 116 w 1997"/>
                  <a:gd name="T23" fmla="*/ 1 h 2962"/>
                  <a:gd name="T24" fmla="*/ 89 w 1997"/>
                  <a:gd name="T25" fmla="*/ 4 h 2962"/>
                  <a:gd name="T26" fmla="*/ 89 w 1997"/>
                  <a:gd name="T27" fmla="*/ 14 h 2962"/>
                  <a:gd name="T28" fmla="*/ 79 w 1997"/>
                  <a:gd name="T29" fmla="*/ 16 h 2962"/>
                  <a:gd name="T30" fmla="*/ 67 w 1997"/>
                  <a:gd name="T31" fmla="*/ 32 h 2962"/>
                  <a:gd name="T32" fmla="*/ 78 w 1997"/>
                  <a:gd name="T33" fmla="*/ 57 h 2962"/>
                  <a:gd name="T34" fmla="*/ 63 w 1997"/>
                  <a:gd name="T35" fmla="*/ 65 h 2962"/>
                  <a:gd name="T36" fmla="*/ 70 w 1997"/>
                  <a:gd name="T37" fmla="*/ 77 h 2962"/>
                  <a:gd name="T38" fmla="*/ 77 w 1997"/>
                  <a:gd name="T39" fmla="*/ 98 h 2962"/>
                  <a:gd name="T40" fmla="*/ 46 w 1997"/>
                  <a:gd name="T41" fmla="*/ 151 h 2962"/>
                  <a:gd name="T42" fmla="*/ 9 w 1997"/>
                  <a:gd name="T43" fmla="*/ 172 h 2962"/>
                  <a:gd name="T44" fmla="*/ 6 w 1997"/>
                  <a:gd name="T45" fmla="*/ 201 h 2962"/>
                  <a:gd name="T46" fmla="*/ 0 w 1997"/>
                  <a:gd name="T47" fmla="*/ 208 h 2962"/>
                  <a:gd name="T48" fmla="*/ 13 w 1997"/>
                  <a:gd name="T49" fmla="*/ 208 h 2962"/>
                  <a:gd name="T50" fmla="*/ 65 w 1997"/>
                  <a:gd name="T51" fmla="*/ 248 h 29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997" h="2962">
                    <a:moveTo>
                      <a:pt x="765" y="2925"/>
                    </a:moveTo>
                    <a:cubicBezTo>
                      <a:pt x="802" y="2866"/>
                      <a:pt x="861" y="2828"/>
                      <a:pt x="854" y="2754"/>
                    </a:cubicBezTo>
                    <a:cubicBezTo>
                      <a:pt x="839" y="2687"/>
                      <a:pt x="839" y="2620"/>
                      <a:pt x="943" y="2591"/>
                    </a:cubicBezTo>
                    <a:cubicBezTo>
                      <a:pt x="1114" y="2554"/>
                      <a:pt x="1151" y="2509"/>
                      <a:pt x="1247" y="2361"/>
                    </a:cubicBezTo>
                    <a:cubicBezTo>
                      <a:pt x="1321" y="2235"/>
                      <a:pt x="1426" y="2079"/>
                      <a:pt x="1470" y="1967"/>
                    </a:cubicBezTo>
                    <a:cubicBezTo>
                      <a:pt x="1492" y="1901"/>
                      <a:pt x="1544" y="1819"/>
                      <a:pt x="1566" y="1759"/>
                    </a:cubicBezTo>
                    <a:cubicBezTo>
                      <a:pt x="1618" y="1641"/>
                      <a:pt x="1693" y="1678"/>
                      <a:pt x="1782" y="1589"/>
                    </a:cubicBezTo>
                    <a:cubicBezTo>
                      <a:pt x="1826" y="1544"/>
                      <a:pt x="1841" y="1433"/>
                      <a:pt x="1893" y="1336"/>
                    </a:cubicBezTo>
                    <a:lnTo>
                      <a:pt x="1930" y="772"/>
                    </a:lnTo>
                    <a:cubicBezTo>
                      <a:pt x="1930" y="631"/>
                      <a:pt x="1960" y="512"/>
                      <a:pt x="1997" y="423"/>
                    </a:cubicBezTo>
                    <a:cubicBezTo>
                      <a:pt x="1804" y="349"/>
                      <a:pt x="1700" y="141"/>
                      <a:pt x="1566" y="104"/>
                    </a:cubicBezTo>
                    <a:cubicBezTo>
                      <a:pt x="1544" y="89"/>
                      <a:pt x="1403" y="0"/>
                      <a:pt x="1366" y="15"/>
                    </a:cubicBezTo>
                    <a:cubicBezTo>
                      <a:pt x="1240" y="44"/>
                      <a:pt x="1166" y="22"/>
                      <a:pt x="1054" y="52"/>
                    </a:cubicBezTo>
                    <a:cubicBezTo>
                      <a:pt x="965" y="59"/>
                      <a:pt x="1054" y="111"/>
                      <a:pt x="1054" y="163"/>
                    </a:cubicBezTo>
                    <a:cubicBezTo>
                      <a:pt x="1054" y="260"/>
                      <a:pt x="973" y="193"/>
                      <a:pt x="935" y="193"/>
                    </a:cubicBezTo>
                    <a:cubicBezTo>
                      <a:pt x="891" y="193"/>
                      <a:pt x="728" y="334"/>
                      <a:pt x="787" y="379"/>
                    </a:cubicBezTo>
                    <a:cubicBezTo>
                      <a:pt x="935" y="497"/>
                      <a:pt x="832" y="572"/>
                      <a:pt x="921" y="668"/>
                    </a:cubicBezTo>
                    <a:cubicBezTo>
                      <a:pt x="1047" y="817"/>
                      <a:pt x="839" y="750"/>
                      <a:pt x="750" y="764"/>
                    </a:cubicBezTo>
                    <a:cubicBezTo>
                      <a:pt x="609" y="750"/>
                      <a:pt x="839" y="869"/>
                      <a:pt x="824" y="913"/>
                    </a:cubicBezTo>
                    <a:cubicBezTo>
                      <a:pt x="795" y="1032"/>
                      <a:pt x="921" y="1017"/>
                      <a:pt x="906" y="1158"/>
                    </a:cubicBezTo>
                    <a:cubicBezTo>
                      <a:pt x="898" y="1359"/>
                      <a:pt x="683" y="1351"/>
                      <a:pt x="549" y="1782"/>
                    </a:cubicBezTo>
                    <a:cubicBezTo>
                      <a:pt x="468" y="2101"/>
                      <a:pt x="178" y="1834"/>
                      <a:pt x="111" y="2034"/>
                    </a:cubicBezTo>
                    <a:cubicBezTo>
                      <a:pt x="97" y="2079"/>
                      <a:pt x="74" y="2376"/>
                      <a:pt x="74" y="2376"/>
                    </a:cubicBezTo>
                    <a:lnTo>
                      <a:pt x="0" y="2457"/>
                    </a:lnTo>
                    <a:lnTo>
                      <a:pt x="156" y="2457"/>
                    </a:lnTo>
                    <a:cubicBezTo>
                      <a:pt x="119" y="2962"/>
                      <a:pt x="616" y="2680"/>
                      <a:pt x="765" y="292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170"/>
              <p:cNvSpPr>
                <a:spLocks/>
              </p:cNvSpPr>
              <p:nvPr/>
            </p:nvSpPr>
            <p:spPr bwMode="auto">
              <a:xfrm>
                <a:off x="7071327" y="3137024"/>
                <a:ext cx="231225" cy="257692"/>
              </a:xfrm>
              <a:custGeom>
                <a:avLst/>
                <a:gdLst>
                  <a:gd name="T0" fmla="*/ 59 w 1648"/>
                  <a:gd name="T1" fmla="*/ 153 h 1848"/>
                  <a:gd name="T2" fmla="*/ 103 w 1648"/>
                  <a:gd name="T3" fmla="*/ 100 h 1848"/>
                  <a:gd name="T4" fmla="*/ 140 w 1648"/>
                  <a:gd name="T5" fmla="*/ 83 h 1848"/>
                  <a:gd name="T6" fmla="*/ 122 w 1648"/>
                  <a:gd name="T7" fmla="*/ 65 h 1848"/>
                  <a:gd name="T8" fmla="*/ 107 w 1648"/>
                  <a:gd name="T9" fmla="*/ 57 h 1848"/>
                  <a:gd name="T10" fmla="*/ 96 w 1648"/>
                  <a:gd name="T11" fmla="*/ 41 h 1848"/>
                  <a:gd name="T12" fmla="*/ 21 w 1648"/>
                  <a:gd name="T13" fmla="*/ 0 h 1848"/>
                  <a:gd name="T14" fmla="*/ 25 w 1648"/>
                  <a:gd name="T15" fmla="*/ 24 h 1848"/>
                  <a:gd name="T16" fmla="*/ 38 w 1648"/>
                  <a:gd name="T17" fmla="*/ 63 h 1848"/>
                  <a:gd name="T18" fmla="*/ 23 w 1648"/>
                  <a:gd name="T19" fmla="*/ 93 h 1848"/>
                  <a:gd name="T20" fmla="*/ 3 w 1648"/>
                  <a:gd name="T21" fmla="*/ 91 h 1848"/>
                  <a:gd name="T22" fmla="*/ 8 w 1648"/>
                  <a:gd name="T23" fmla="*/ 108 h 1848"/>
                  <a:gd name="T24" fmla="*/ 21 w 1648"/>
                  <a:gd name="T25" fmla="*/ 122 h 1848"/>
                  <a:gd name="T26" fmla="*/ 17 w 1648"/>
                  <a:gd name="T27" fmla="*/ 140 h 1848"/>
                  <a:gd name="T28" fmla="*/ 25 w 1648"/>
                  <a:gd name="T29" fmla="*/ 142 h 1848"/>
                  <a:gd name="T30" fmla="*/ 35 w 1648"/>
                  <a:gd name="T31" fmla="*/ 153 h 1848"/>
                  <a:gd name="T32" fmla="*/ 59 w 1648"/>
                  <a:gd name="T33" fmla="*/ 153 h 18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648" h="1848">
                    <a:moveTo>
                      <a:pt x="698" y="1811"/>
                    </a:moveTo>
                    <a:cubicBezTo>
                      <a:pt x="802" y="1536"/>
                      <a:pt x="965" y="1321"/>
                      <a:pt x="1210" y="1187"/>
                    </a:cubicBezTo>
                    <a:cubicBezTo>
                      <a:pt x="1381" y="1091"/>
                      <a:pt x="1529" y="1076"/>
                      <a:pt x="1648" y="987"/>
                    </a:cubicBezTo>
                    <a:cubicBezTo>
                      <a:pt x="1596" y="942"/>
                      <a:pt x="1485" y="801"/>
                      <a:pt x="1440" y="771"/>
                    </a:cubicBezTo>
                    <a:cubicBezTo>
                      <a:pt x="1395" y="757"/>
                      <a:pt x="1306" y="757"/>
                      <a:pt x="1262" y="675"/>
                    </a:cubicBezTo>
                    <a:cubicBezTo>
                      <a:pt x="1217" y="616"/>
                      <a:pt x="1173" y="505"/>
                      <a:pt x="1128" y="482"/>
                    </a:cubicBezTo>
                    <a:cubicBezTo>
                      <a:pt x="779" y="311"/>
                      <a:pt x="601" y="185"/>
                      <a:pt x="245" y="0"/>
                    </a:cubicBezTo>
                    <a:cubicBezTo>
                      <a:pt x="319" y="104"/>
                      <a:pt x="267" y="148"/>
                      <a:pt x="289" y="282"/>
                    </a:cubicBezTo>
                    <a:cubicBezTo>
                      <a:pt x="312" y="386"/>
                      <a:pt x="519" y="556"/>
                      <a:pt x="445" y="742"/>
                    </a:cubicBezTo>
                    <a:cubicBezTo>
                      <a:pt x="393" y="846"/>
                      <a:pt x="519" y="1202"/>
                      <a:pt x="267" y="1098"/>
                    </a:cubicBezTo>
                    <a:cubicBezTo>
                      <a:pt x="141" y="1046"/>
                      <a:pt x="148" y="1017"/>
                      <a:pt x="37" y="1083"/>
                    </a:cubicBezTo>
                    <a:cubicBezTo>
                      <a:pt x="0" y="1158"/>
                      <a:pt x="89" y="1284"/>
                      <a:pt x="89" y="1284"/>
                    </a:cubicBezTo>
                    <a:cubicBezTo>
                      <a:pt x="148" y="1388"/>
                      <a:pt x="156" y="1403"/>
                      <a:pt x="245" y="1440"/>
                    </a:cubicBezTo>
                    <a:cubicBezTo>
                      <a:pt x="282" y="1536"/>
                      <a:pt x="148" y="1522"/>
                      <a:pt x="200" y="1655"/>
                    </a:cubicBezTo>
                    <a:cubicBezTo>
                      <a:pt x="208" y="1685"/>
                      <a:pt x="275" y="1677"/>
                      <a:pt x="297" y="1677"/>
                    </a:cubicBezTo>
                    <a:cubicBezTo>
                      <a:pt x="371" y="1692"/>
                      <a:pt x="349" y="1782"/>
                      <a:pt x="408" y="1811"/>
                    </a:cubicBezTo>
                    <a:cubicBezTo>
                      <a:pt x="482" y="1848"/>
                      <a:pt x="698" y="1811"/>
                      <a:pt x="698" y="1811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171"/>
              <p:cNvSpPr>
                <a:spLocks/>
              </p:cNvSpPr>
              <p:nvPr/>
            </p:nvSpPr>
            <p:spPr bwMode="auto">
              <a:xfrm>
                <a:off x="7082888" y="3054430"/>
                <a:ext cx="374915" cy="219699"/>
              </a:xfrm>
              <a:custGeom>
                <a:avLst/>
                <a:gdLst>
                  <a:gd name="T0" fmla="*/ 227 w 2680"/>
                  <a:gd name="T1" fmla="*/ 26 h 1574"/>
                  <a:gd name="T2" fmla="*/ 200 w 2680"/>
                  <a:gd name="T3" fmla="*/ 15 h 1574"/>
                  <a:gd name="T4" fmla="*/ 182 w 2680"/>
                  <a:gd name="T5" fmla="*/ 18 h 1574"/>
                  <a:gd name="T6" fmla="*/ 146 w 2680"/>
                  <a:gd name="T7" fmla="*/ 29 h 1574"/>
                  <a:gd name="T8" fmla="*/ 124 w 2680"/>
                  <a:gd name="T9" fmla="*/ 44 h 1574"/>
                  <a:gd name="T10" fmla="*/ 106 w 2680"/>
                  <a:gd name="T11" fmla="*/ 42 h 1574"/>
                  <a:gd name="T12" fmla="*/ 94 w 2680"/>
                  <a:gd name="T13" fmla="*/ 45 h 1574"/>
                  <a:gd name="T14" fmla="*/ 48 w 2680"/>
                  <a:gd name="T15" fmla="*/ 19 h 1574"/>
                  <a:gd name="T16" fmla="*/ 31 w 2680"/>
                  <a:gd name="T17" fmla="*/ 18 h 1574"/>
                  <a:gd name="T18" fmla="*/ 6 w 2680"/>
                  <a:gd name="T19" fmla="*/ 33 h 1574"/>
                  <a:gd name="T20" fmla="*/ 0 w 2680"/>
                  <a:gd name="T21" fmla="*/ 33 h 1574"/>
                  <a:gd name="T22" fmla="*/ 14 w 2680"/>
                  <a:gd name="T23" fmla="*/ 50 h 1574"/>
                  <a:gd name="T24" fmla="*/ 89 w 2680"/>
                  <a:gd name="T25" fmla="*/ 91 h 1574"/>
                  <a:gd name="T26" fmla="*/ 101 w 2680"/>
                  <a:gd name="T27" fmla="*/ 107 h 1574"/>
                  <a:gd name="T28" fmla="*/ 116 w 2680"/>
                  <a:gd name="T29" fmla="*/ 115 h 1574"/>
                  <a:gd name="T30" fmla="*/ 133 w 2680"/>
                  <a:gd name="T31" fmla="*/ 133 h 1574"/>
                  <a:gd name="T32" fmla="*/ 140 w 2680"/>
                  <a:gd name="T33" fmla="*/ 127 h 1574"/>
                  <a:gd name="T34" fmla="*/ 211 w 2680"/>
                  <a:gd name="T35" fmla="*/ 46 h 1574"/>
                  <a:gd name="T36" fmla="*/ 227 w 2680"/>
                  <a:gd name="T37" fmla="*/ 26 h 157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680" h="1574">
                    <a:moveTo>
                      <a:pt x="2680" y="312"/>
                    </a:moveTo>
                    <a:cubicBezTo>
                      <a:pt x="2591" y="252"/>
                      <a:pt x="2487" y="178"/>
                      <a:pt x="2361" y="178"/>
                    </a:cubicBezTo>
                    <a:cubicBezTo>
                      <a:pt x="2309" y="178"/>
                      <a:pt x="2197" y="282"/>
                      <a:pt x="2145" y="215"/>
                    </a:cubicBezTo>
                    <a:cubicBezTo>
                      <a:pt x="2145" y="215"/>
                      <a:pt x="1871" y="133"/>
                      <a:pt x="1722" y="341"/>
                    </a:cubicBezTo>
                    <a:cubicBezTo>
                      <a:pt x="1656" y="445"/>
                      <a:pt x="1641" y="475"/>
                      <a:pt x="1463" y="519"/>
                    </a:cubicBezTo>
                    <a:cubicBezTo>
                      <a:pt x="1403" y="534"/>
                      <a:pt x="1411" y="601"/>
                      <a:pt x="1255" y="497"/>
                    </a:cubicBezTo>
                    <a:cubicBezTo>
                      <a:pt x="1218" y="475"/>
                      <a:pt x="1180" y="534"/>
                      <a:pt x="1114" y="534"/>
                    </a:cubicBezTo>
                    <a:cubicBezTo>
                      <a:pt x="883" y="534"/>
                      <a:pt x="779" y="126"/>
                      <a:pt x="564" y="230"/>
                    </a:cubicBezTo>
                    <a:cubicBezTo>
                      <a:pt x="527" y="245"/>
                      <a:pt x="483" y="0"/>
                      <a:pt x="371" y="208"/>
                    </a:cubicBezTo>
                    <a:cubicBezTo>
                      <a:pt x="275" y="275"/>
                      <a:pt x="163" y="386"/>
                      <a:pt x="67" y="386"/>
                    </a:cubicBezTo>
                    <a:lnTo>
                      <a:pt x="0" y="386"/>
                    </a:lnTo>
                    <a:cubicBezTo>
                      <a:pt x="0" y="490"/>
                      <a:pt x="141" y="549"/>
                      <a:pt x="171" y="594"/>
                    </a:cubicBezTo>
                    <a:cubicBezTo>
                      <a:pt x="527" y="779"/>
                      <a:pt x="705" y="905"/>
                      <a:pt x="1054" y="1076"/>
                    </a:cubicBezTo>
                    <a:cubicBezTo>
                      <a:pt x="1099" y="1099"/>
                      <a:pt x="1143" y="1210"/>
                      <a:pt x="1188" y="1269"/>
                    </a:cubicBezTo>
                    <a:cubicBezTo>
                      <a:pt x="1232" y="1351"/>
                      <a:pt x="1321" y="1351"/>
                      <a:pt x="1366" y="1365"/>
                    </a:cubicBezTo>
                    <a:cubicBezTo>
                      <a:pt x="1411" y="1395"/>
                      <a:pt x="1522" y="1522"/>
                      <a:pt x="1574" y="1574"/>
                    </a:cubicBezTo>
                    <a:cubicBezTo>
                      <a:pt x="1604" y="1544"/>
                      <a:pt x="1626" y="1544"/>
                      <a:pt x="1648" y="1499"/>
                    </a:cubicBezTo>
                    <a:cubicBezTo>
                      <a:pt x="1893" y="1150"/>
                      <a:pt x="2190" y="928"/>
                      <a:pt x="2487" y="549"/>
                    </a:cubicBezTo>
                    <a:cubicBezTo>
                      <a:pt x="2539" y="490"/>
                      <a:pt x="2606" y="408"/>
                      <a:pt x="2680" y="312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175"/>
              <p:cNvSpPr>
                <a:spLocks/>
              </p:cNvSpPr>
              <p:nvPr/>
            </p:nvSpPr>
            <p:spPr bwMode="auto">
              <a:xfrm>
                <a:off x="7039947" y="2725707"/>
                <a:ext cx="462450" cy="272559"/>
              </a:xfrm>
              <a:custGeom>
                <a:avLst/>
                <a:gdLst>
                  <a:gd name="T0" fmla="*/ 0 w 3304"/>
                  <a:gd name="T1" fmla="*/ 115 h 1945"/>
                  <a:gd name="T2" fmla="*/ 13 w 3304"/>
                  <a:gd name="T3" fmla="*/ 94 h 1945"/>
                  <a:gd name="T4" fmla="*/ 4 w 3304"/>
                  <a:gd name="T5" fmla="*/ 62 h 1945"/>
                  <a:gd name="T6" fmla="*/ 14 w 3304"/>
                  <a:gd name="T7" fmla="*/ 26 h 1945"/>
                  <a:gd name="T8" fmla="*/ 20 w 3304"/>
                  <a:gd name="T9" fmla="*/ 26 h 1945"/>
                  <a:gd name="T10" fmla="*/ 45 w 3304"/>
                  <a:gd name="T11" fmla="*/ 31 h 1945"/>
                  <a:gd name="T12" fmla="*/ 108 w 3304"/>
                  <a:gd name="T13" fmla="*/ 0 h 1945"/>
                  <a:gd name="T14" fmla="*/ 118 w 3304"/>
                  <a:gd name="T15" fmla="*/ 6 h 1945"/>
                  <a:gd name="T16" fmla="*/ 93 w 3304"/>
                  <a:gd name="T17" fmla="*/ 47 h 1945"/>
                  <a:gd name="T18" fmla="*/ 114 w 3304"/>
                  <a:gd name="T19" fmla="*/ 59 h 1945"/>
                  <a:gd name="T20" fmla="*/ 132 w 3304"/>
                  <a:gd name="T21" fmla="*/ 54 h 1945"/>
                  <a:gd name="T22" fmla="*/ 149 w 3304"/>
                  <a:gd name="T23" fmla="*/ 71 h 1945"/>
                  <a:gd name="T24" fmla="*/ 165 w 3304"/>
                  <a:gd name="T25" fmla="*/ 50 h 1945"/>
                  <a:gd name="T26" fmla="*/ 165 w 3304"/>
                  <a:gd name="T27" fmla="*/ 39 h 1945"/>
                  <a:gd name="T28" fmla="*/ 175 w 3304"/>
                  <a:gd name="T29" fmla="*/ 28 h 1945"/>
                  <a:gd name="T30" fmla="*/ 194 w 3304"/>
                  <a:gd name="T31" fmla="*/ 40 h 1945"/>
                  <a:gd name="T32" fmla="*/ 214 w 3304"/>
                  <a:gd name="T33" fmla="*/ 37 h 1945"/>
                  <a:gd name="T34" fmla="*/ 271 w 3304"/>
                  <a:gd name="T35" fmla="*/ 47 h 1945"/>
                  <a:gd name="T36" fmla="*/ 274 w 3304"/>
                  <a:gd name="T37" fmla="*/ 74 h 1945"/>
                  <a:gd name="T38" fmla="*/ 280 w 3304"/>
                  <a:gd name="T39" fmla="*/ 105 h 1945"/>
                  <a:gd name="T40" fmla="*/ 277 w 3304"/>
                  <a:gd name="T41" fmla="*/ 125 h 1945"/>
                  <a:gd name="T42" fmla="*/ 231 w 3304"/>
                  <a:gd name="T43" fmla="*/ 115 h 1945"/>
                  <a:gd name="T44" fmla="*/ 225 w 3304"/>
                  <a:gd name="T45" fmla="*/ 128 h 1945"/>
                  <a:gd name="T46" fmla="*/ 204 w 3304"/>
                  <a:gd name="T47" fmla="*/ 135 h 1945"/>
                  <a:gd name="T48" fmla="*/ 168 w 3304"/>
                  <a:gd name="T49" fmla="*/ 135 h 1945"/>
                  <a:gd name="T50" fmla="*/ 147 w 3304"/>
                  <a:gd name="T51" fmla="*/ 150 h 1945"/>
                  <a:gd name="T52" fmla="*/ 124 w 3304"/>
                  <a:gd name="T53" fmla="*/ 165 h 1945"/>
                  <a:gd name="T54" fmla="*/ 111 w 3304"/>
                  <a:gd name="T55" fmla="*/ 147 h 1945"/>
                  <a:gd name="T56" fmla="*/ 102 w 3304"/>
                  <a:gd name="T57" fmla="*/ 140 h 1945"/>
                  <a:gd name="T58" fmla="*/ 121 w 3304"/>
                  <a:gd name="T59" fmla="*/ 106 h 1945"/>
                  <a:gd name="T60" fmla="*/ 96 w 3304"/>
                  <a:gd name="T61" fmla="*/ 96 h 1945"/>
                  <a:gd name="T62" fmla="*/ 52 w 3304"/>
                  <a:gd name="T63" fmla="*/ 125 h 1945"/>
                  <a:gd name="T64" fmla="*/ 35 w 3304"/>
                  <a:gd name="T65" fmla="*/ 128 h 1945"/>
                  <a:gd name="T66" fmla="*/ 22 w 3304"/>
                  <a:gd name="T67" fmla="*/ 122 h 1945"/>
                  <a:gd name="T68" fmla="*/ 0 w 3304"/>
                  <a:gd name="T69" fmla="*/ 115 h 194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304" h="1945">
                    <a:moveTo>
                      <a:pt x="0" y="1358"/>
                    </a:moveTo>
                    <a:cubicBezTo>
                      <a:pt x="51" y="1232"/>
                      <a:pt x="126" y="1165"/>
                      <a:pt x="155" y="1113"/>
                    </a:cubicBezTo>
                    <a:cubicBezTo>
                      <a:pt x="237" y="950"/>
                      <a:pt x="51" y="1024"/>
                      <a:pt x="51" y="735"/>
                    </a:cubicBezTo>
                    <a:cubicBezTo>
                      <a:pt x="51" y="505"/>
                      <a:pt x="163" y="475"/>
                      <a:pt x="163" y="304"/>
                    </a:cubicBezTo>
                    <a:lnTo>
                      <a:pt x="237" y="304"/>
                    </a:lnTo>
                    <a:cubicBezTo>
                      <a:pt x="326" y="304"/>
                      <a:pt x="393" y="364"/>
                      <a:pt x="527" y="364"/>
                    </a:cubicBezTo>
                    <a:cubicBezTo>
                      <a:pt x="846" y="364"/>
                      <a:pt x="965" y="0"/>
                      <a:pt x="1277" y="0"/>
                    </a:cubicBezTo>
                    <a:cubicBezTo>
                      <a:pt x="1351" y="0"/>
                      <a:pt x="1395" y="29"/>
                      <a:pt x="1395" y="74"/>
                    </a:cubicBezTo>
                    <a:cubicBezTo>
                      <a:pt x="1395" y="282"/>
                      <a:pt x="1098" y="326"/>
                      <a:pt x="1098" y="549"/>
                    </a:cubicBezTo>
                    <a:cubicBezTo>
                      <a:pt x="1098" y="608"/>
                      <a:pt x="1269" y="690"/>
                      <a:pt x="1351" y="690"/>
                    </a:cubicBezTo>
                    <a:cubicBezTo>
                      <a:pt x="1440" y="690"/>
                      <a:pt x="1485" y="638"/>
                      <a:pt x="1559" y="638"/>
                    </a:cubicBezTo>
                    <a:cubicBezTo>
                      <a:pt x="1663" y="638"/>
                      <a:pt x="1655" y="839"/>
                      <a:pt x="1759" y="839"/>
                    </a:cubicBezTo>
                    <a:cubicBezTo>
                      <a:pt x="1871" y="839"/>
                      <a:pt x="1945" y="653"/>
                      <a:pt x="1945" y="594"/>
                    </a:cubicBezTo>
                    <a:lnTo>
                      <a:pt x="1945" y="460"/>
                    </a:lnTo>
                    <a:cubicBezTo>
                      <a:pt x="1945" y="415"/>
                      <a:pt x="1982" y="326"/>
                      <a:pt x="2063" y="326"/>
                    </a:cubicBezTo>
                    <a:cubicBezTo>
                      <a:pt x="2160" y="326"/>
                      <a:pt x="2182" y="475"/>
                      <a:pt x="2286" y="475"/>
                    </a:cubicBezTo>
                    <a:lnTo>
                      <a:pt x="2531" y="438"/>
                    </a:lnTo>
                    <a:cubicBezTo>
                      <a:pt x="2776" y="438"/>
                      <a:pt x="2940" y="557"/>
                      <a:pt x="3199" y="557"/>
                    </a:cubicBezTo>
                    <a:cubicBezTo>
                      <a:pt x="3222" y="653"/>
                      <a:pt x="3237" y="757"/>
                      <a:pt x="3237" y="868"/>
                    </a:cubicBezTo>
                    <a:cubicBezTo>
                      <a:pt x="3237" y="950"/>
                      <a:pt x="3304" y="1143"/>
                      <a:pt x="3304" y="1232"/>
                    </a:cubicBezTo>
                    <a:cubicBezTo>
                      <a:pt x="3304" y="1351"/>
                      <a:pt x="3281" y="1358"/>
                      <a:pt x="3266" y="1477"/>
                    </a:cubicBezTo>
                    <a:cubicBezTo>
                      <a:pt x="3162" y="1470"/>
                      <a:pt x="3066" y="1187"/>
                      <a:pt x="2724" y="1358"/>
                    </a:cubicBezTo>
                    <a:cubicBezTo>
                      <a:pt x="2672" y="1388"/>
                      <a:pt x="2695" y="1470"/>
                      <a:pt x="2650" y="1514"/>
                    </a:cubicBezTo>
                    <a:cubicBezTo>
                      <a:pt x="2553" y="1537"/>
                      <a:pt x="2472" y="1529"/>
                      <a:pt x="2405" y="1596"/>
                    </a:cubicBezTo>
                    <a:cubicBezTo>
                      <a:pt x="2316" y="1648"/>
                      <a:pt x="1982" y="1596"/>
                      <a:pt x="1982" y="1596"/>
                    </a:cubicBezTo>
                    <a:cubicBezTo>
                      <a:pt x="1930" y="1692"/>
                      <a:pt x="1811" y="1596"/>
                      <a:pt x="1737" y="1774"/>
                    </a:cubicBezTo>
                    <a:cubicBezTo>
                      <a:pt x="1685" y="1900"/>
                      <a:pt x="1640" y="1945"/>
                      <a:pt x="1462" y="1945"/>
                    </a:cubicBezTo>
                    <a:cubicBezTo>
                      <a:pt x="1329" y="1945"/>
                      <a:pt x="1395" y="1759"/>
                      <a:pt x="1306" y="1730"/>
                    </a:cubicBezTo>
                    <a:cubicBezTo>
                      <a:pt x="1269" y="1722"/>
                      <a:pt x="1187" y="1715"/>
                      <a:pt x="1202" y="1655"/>
                    </a:cubicBezTo>
                    <a:cubicBezTo>
                      <a:pt x="1269" y="1381"/>
                      <a:pt x="1388" y="1418"/>
                      <a:pt x="1425" y="1247"/>
                    </a:cubicBezTo>
                    <a:cubicBezTo>
                      <a:pt x="1358" y="1143"/>
                      <a:pt x="1247" y="1039"/>
                      <a:pt x="1128" y="1128"/>
                    </a:cubicBezTo>
                    <a:cubicBezTo>
                      <a:pt x="965" y="1284"/>
                      <a:pt x="675" y="1477"/>
                      <a:pt x="616" y="1470"/>
                    </a:cubicBezTo>
                    <a:cubicBezTo>
                      <a:pt x="497" y="1455"/>
                      <a:pt x="445" y="1514"/>
                      <a:pt x="408" y="1514"/>
                    </a:cubicBezTo>
                    <a:cubicBezTo>
                      <a:pt x="319" y="1514"/>
                      <a:pt x="393" y="1418"/>
                      <a:pt x="259" y="1433"/>
                    </a:cubicBezTo>
                    <a:cubicBezTo>
                      <a:pt x="141" y="1447"/>
                      <a:pt x="81" y="1381"/>
                      <a:pt x="0" y="135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177"/>
              <p:cNvSpPr>
                <a:spLocks/>
              </p:cNvSpPr>
              <p:nvPr/>
            </p:nvSpPr>
            <p:spPr bwMode="auto">
              <a:xfrm>
                <a:off x="5292545" y="3483917"/>
                <a:ext cx="868746" cy="784639"/>
              </a:xfrm>
              <a:custGeom>
                <a:avLst/>
                <a:gdLst>
                  <a:gd name="T0" fmla="*/ 500 w 6206"/>
                  <a:gd name="T1" fmla="*/ 75 h 5605"/>
                  <a:gd name="T2" fmla="*/ 464 w 6206"/>
                  <a:gd name="T3" fmla="*/ 70 h 5605"/>
                  <a:gd name="T4" fmla="*/ 423 w 6206"/>
                  <a:gd name="T5" fmla="*/ 80 h 5605"/>
                  <a:gd name="T6" fmla="*/ 412 w 6206"/>
                  <a:gd name="T7" fmla="*/ 70 h 5605"/>
                  <a:gd name="T8" fmla="*/ 399 w 6206"/>
                  <a:gd name="T9" fmla="*/ 89 h 5605"/>
                  <a:gd name="T10" fmla="*/ 369 w 6206"/>
                  <a:gd name="T11" fmla="*/ 65 h 5605"/>
                  <a:gd name="T12" fmla="*/ 361 w 6206"/>
                  <a:gd name="T13" fmla="*/ 65 h 5605"/>
                  <a:gd name="T14" fmla="*/ 349 w 6206"/>
                  <a:gd name="T15" fmla="*/ 73 h 5605"/>
                  <a:gd name="T16" fmla="*/ 334 w 6206"/>
                  <a:gd name="T17" fmla="*/ 51 h 5605"/>
                  <a:gd name="T18" fmla="*/ 303 w 6206"/>
                  <a:gd name="T19" fmla="*/ 43 h 5605"/>
                  <a:gd name="T20" fmla="*/ 285 w 6206"/>
                  <a:gd name="T21" fmla="*/ 60 h 5605"/>
                  <a:gd name="T22" fmla="*/ 230 w 6206"/>
                  <a:gd name="T23" fmla="*/ 35 h 5605"/>
                  <a:gd name="T24" fmla="*/ 228 w 6206"/>
                  <a:gd name="T25" fmla="*/ 0 h 5605"/>
                  <a:gd name="T26" fmla="*/ 208 w 6206"/>
                  <a:gd name="T27" fmla="*/ 31 h 5605"/>
                  <a:gd name="T28" fmla="*/ 196 w 6206"/>
                  <a:gd name="T29" fmla="*/ 35 h 5605"/>
                  <a:gd name="T30" fmla="*/ 188 w 6206"/>
                  <a:gd name="T31" fmla="*/ 47 h 5605"/>
                  <a:gd name="T32" fmla="*/ 173 w 6206"/>
                  <a:gd name="T33" fmla="*/ 96 h 5605"/>
                  <a:gd name="T34" fmla="*/ 156 w 6206"/>
                  <a:gd name="T35" fmla="*/ 150 h 5605"/>
                  <a:gd name="T36" fmla="*/ 135 w 6206"/>
                  <a:gd name="T37" fmla="*/ 159 h 5605"/>
                  <a:gd name="T38" fmla="*/ 108 w 6206"/>
                  <a:gd name="T39" fmla="*/ 208 h 5605"/>
                  <a:gd name="T40" fmla="*/ 80 w 6206"/>
                  <a:gd name="T41" fmla="*/ 219 h 5605"/>
                  <a:gd name="T42" fmla="*/ 64 w 6206"/>
                  <a:gd name="T43" fmla="*/ 238 h 5605"/>
                  <a:gd name="T44" fmla="*/ 45 w 6206"/>
                  <a:gd name="T45" fmla="*/ 271 h 5605"/>
                  <a:gd name="T46" fmla="*/ 19 w 6206"/>
                  <a:gd name="T47" fmla="*/ 305 h 5605"/>
                  <a:gd name="T48" fmla="*/ 8 w 6206"/>
                  <a:gd name="T49" fmla="*/ 330 h 5605"/>
                  <a:gd name="T50" fmla="*/ 16 w 6206"/>
                  <a:gd name="T51" fmla="*/ 369 h 5605"/>
                  <a:gd name="T52" fmla="*/ 37 w 6206"/>
                  <a:gd name="T53" fmla="*/ 397 h 5605"/>
                  <a:gd name="T54" fmla="*/ 28 w 6206"/>
                  <a:gd name="T55" fmla="*/ 410 h 5605"/>
                  <a:gd name="T56" fmla="*/ 64 w 6206"/>
                  <a:gd name="T57" fmla="*/ 423 h 5605"/>
                  <a:gd name="T58" fmla="*/ 93 w 6206"/>
                  <a:gd name="T59" fmla="*/ 443 h 5605"/>
                  <a:gd name="T60" fmla="*/ 135 w 6206"/>
                  <a:gd name="T61" fmla="*/ 457 h 5605"/>
                  <a:gd name="T62" fmla="*/ 168 w 6206"/>
                  <a:gd name="T63" fmla="*/ 475 h 5605"/>
                  <a:gd name="T64" fmla="*/ 197 w 6206"/>
                  <a:gd name="T65" fmla="*/ 446 h 5605"/>
                  <a:gd name="T66" fmla="*/ 203 w 6206"/>
                  <a:gd name="T67" fmla="*/ 428 h 5605"/>
                  <a:gd name="T68" fmla="*/ 229 w 6206"/>
                  <a:gd name="T69" fmla="*/ 420 h 5605"/>
                  <a:gd name="T70" fmla="*/ 257 w 6206"/>
                  <a:gd name="T71" fmla="*/ 413 h 5605"/>
                  <a:gd name="T72" fmla="*/ 275 w 6206"/>
                  <a:gd name="T73" fmla="*/ 419 h 5605"/>
                  <a:gd name="T74" fmla="*/ 287 w 6206"/>
                  <a:gd name="T75" fmla="*/ 405 h 5605"/>
                  <a:gd name="T76" fmla="*/ 310 w 6206"/>
                  <a:gd name="T77" fmla="*/ 401 h 5605"/>
                  <a:gd name="T78" fmla="*/ 347 w 6206"/>
                  <a:gd name="T79" fmla="*/ 401 h 5605"/>
                  <a:gd name="T80" fmla="*/ 377 w 6206"/>
                  <a:gd name="T81" fmla="*/ 410 h 5605"/>
                  <a:gd name="T82" fmla="*/ 407 w 6206"/>
                  <a:gd name="T83" fmla="*/ 391 h 5605"/>
                  <a:gd name="T84" fmla="*/ 418 w 6206"/>
                  <a:gd name="T85" fmla="*/ 367 h 5605"/>
                  <a:gd name="T86" fmla="*/ 422 w 6206"/>
                  <a:gd name="T87" fmla="*/ 345 h 5605"/>
                  <a:gd name="T88" fmla="*/ 405 w 6206"/>
                  <a:gd name="T89" fmla="*/ 332 h 5605"/>
                  <a:gd name="T90" fmla="*/ 429 w 6206"/>
                  <a:gd name="T91" fmla="*/ 301 h 5605"/>
                  <a:gd name="T92" fmla="*/ 413 w 6206"/>
                  <a:gd name="T93" fmla="*/ 268 h 5605"/>
                  <a:gd name="T94" fmla="*/ 423 w 6206"/>
                  <a:gd name="T95" fmla="*/ 242 h 5605"/>
                  <a:gd name="T96" fmla="*/ 454 w 6206"/>
                  <a:gd name="T97" fmla="*/ 224 h 5605"/>
                  <a:gd name="T98" fmla="*/ 450 w 6206"/>
                  <a:gd name="T99" fmla="*/ 198 h 5605"/>
                  <a:gd name="T100" fmla="*/ 456 w 6206"/>
                  <a:gd name="T101" fmla="*/ 184 h 5605"/>
                  <a:gd name="T102" fmla="*/ 453 w 6206"/>
                  <a:gd name="T103" fmla="*/ 171 h 5605"/>
                  <a:gd name="T104" fmla="*/ 464 w 6206"/>
                  <a:gd name="T105" fmla="*/ 164 h 5605"/>
                  <a:gd name="T106" fmla="*/ 478 w 6206"/>
                  <a:gd name="T107" fmla="*/ 164 h 5605"/>
                  <a:gd name="T108" fmla="*/ 478 w 6206"/>
                  <a:gd name="T109" fmla="*/ 151 h 5605"/>
                  <a:gd name="T110" fmla="*/ 485 w 6206"/>
                  <a:gd name="T111" fmla="*/ 143 h 5605"/>
                  <a:gd name="T112" fmla="*/ 507 w 6206"/>
                  <a:gd name="T113" fmla="*/ 159 h 5605"/>
                  <a:gd name="T114" fmla="*/ 525 w 6206"/>
                  <a:gd name="T115" fmla="*/ 145 h 5605"/>
                  <a:gd name="T116" fmla="*/ 524 w 6206"/>
                  <a:gd name="T117" fmla="*/ 121 h 5605"/>
                  <a:gd name="T118" fmla="*/ 502 w 6206"/>
                  <a:gd name="T119" fmla="*/ 75 h 5605"/>
                  <a:gd name="T120" fmla="*/ 500 w 6206"/>
                  <a:gd name="T121" fmla="*/ 75 h 56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6206" h="5605">
                    <a:moveTo>
                      <a:pt x="5902" y="884"/>
                    </a:moveTo>
                    <a:cubicBezTo>
                      <a:pt x="5776" y="869"/>
                      <a:pt x="5568" y="898"/>
                      <a:pt x="5479" y="824"/>
                    </a:cubicBezTo>
                    <a:cubicBezTo>
                      <a:pt x="5331" y="973"/>
                      <a:pt x="5152" y="787"/>
                      <a:pt x="4996" y="943"/>
                    </a:cubicBezTo>
                    <a:cubicBezTo>
                      <a:pt x="4959" y="884"/>
                      <a:pt x="4930" y="861"/>
                      <a:pt x="4863" y="824"/>
                    </a:cubicBezTo>
                    <a:cubicBezTo>
                      <a:pt x="4811" y="921"/>
                      <a:pt x="4722" y="921"/>
                      <a:pt x="4707" y="1054"/>
                    </a:cubicBezTo>
                    <a:cubicBezTo>
                      <a:pt x="4529" y="1054"/>
                      <a:pt x="4351" y="995"/>
                      <a:pt x="4351" y="772"/>
                    </a:cubicBezTo>
                    <a:lnTo>
                      <a:pt x="4254" y="772"/>
                    </a:lnTo>
                    <a:cubicBezTo>
                      <a:pt x="4224" y="787"/>
                      <a:pt x="4195" y="861"/>
                      <a:pt x="4113" y="861"/>
                    </a:cubicBezTo>
                    <a:cubicBezTo>
                      <a:pt x="4017" y="861"/>
                      <a:pt x="4002" y="639"/>
                      <a:pt x="3942" y="601"/>
                    </a:cubicBezTo>
                    <a:cubicBezTo>
                      <a:pt x="3920" y="579"/>
                      <a:pt x="3608" y="513"/>
                      <a:pt x="3571" y="513"/>
                    </a:cubicBezTo>
                    <a:cubicBezTo>
                      <a:pt x="3467" y="513"/>
                      <a:pt x="3467" y="706"/>
                      <a:pt x="3363" y="706"/>
                    </a:cubicBezTo>
                    <a:cubicBezTo>
                      <a:pt x="3244" y="706"/>
                      <a:pt x="2710" y="453"/>
                      <a:pt x="2710" y="416"/>
                    </a:cubicBezTo>
                    <a:cubicBezTo>
                      <a:pt x="2710" y="386"/>
                      <a:pt x="2732" y="119"/>
                      <a:pt x="2688" y="0"/>
                    </a:cubicBezTo>
                    <a:cubicBezTo>
                      <a:pt x="2517" y="119"/>
                      <a:pt x="2576" y="178"/>
                      <a:pt x="2450" y="364"/>
                    </a:cubicBezTo>
                    <a:lnTo>
                      <a:pt x="2317" y="416"/>
                    </a:lnTo>
                    <a:cubicBezTo>
                      <a:pt x="2294" y="468"/>
                      <a:pt x="2272" y="513"/>
                      <a:pt x="2220" y="550"/>
                    </a:cubicBezTo>
                    <a:cubicBezTo>
                      <a:pt x="1923" y="765"/>
                      <a:pt x="2176" y="1032"/>
                      <a:pt x="2042" y="1129"/>
                    </a:cubicBezTo>
                    <a:cubicBezTo>
                      <a:pt x="1953" y="1180"/>
                      <a:pt x="2057" y="1552"/>
                      <a:pt x="1841" y="1774"/>
                    </a:cubicBezTo>
                    <a:cubicBezTo>
                      <a:pt x="1723" y="1901"/>
                      <a:pt x="1723" y="1745"/>
                      <a:pt x="1589" y="1871"/>
                    </a:cubicBezTo>
                    <a:cubicBezTo>
                      <a:pt x="1173" y="2257"/>
                      <a:pt x="1388" y="2294"/>
                      <a:pt x="1277" y="2450"/>
                    </a:cubicBezTo>
                    <a:cubicBezTo>
                      <a:pt x="1158" y="2621"/>
                      <a:pt x="1032" y="2561"/>
                      <a:pt x="943" y="2584"/>
                    </a:cubicBezTo>
                    <a:cubicBezTo>
                      <a:pt x="906" y="2606"/>
                      <a:pt x="750" y="2762"/>
                      <a:pt x="758" y="2806"/>
                    </a:cubicBezTo>
                    <a:cubicBezTo>
                      <a:pt x="765" y="2888"/>
                      <a:pt x="579" y="2977"/>
                      <a:pt x="527" y="3192"/>
                    </a:cubicBezTo>
                    <a:cubicBezTo>
                      <a:pt x="490" y="3393"/>
                      <a:pt x="305" y="3237"/>
                      <a:pt x="223" y="3601"/>
                    </a:cubicBezTo>
                    <a:cubicBezTo>
                      <a:pt x="193" y="3720"/>
                      <a:pt x="126" y="3675"/>
                      <a:pt x="97" y="3898"/>
                    </a:cubicBezTo>
                    <a:cubicBezTo>
                      <a:pt x="82" y="4053"/>
                      <a:pt x="267" y="4069"/>
                      <a:pt x="193" y="4350"/>
                    </a:cubicBezTo>
                    <a:cubicBezTo>
                      <a:pt x="0" y="4759"/>
                      <a:pt x="446" y="4588"/>
                      <a:pt x="438" y="4685"/>
                    </a:cubicBezTo>
                    <a:cubicBezTo>
                      <a:pt x="431" y="4781"/>
                      <a:pt x="357" y="4744"/>
                      <a:pt x="334" y="4841"/>
                    </a:cubicBezTo>
                    <a:cubicBezTo>
                      <a:pt x="312" y="4967"/>
                      <a:pt x="609" y="4937"/>
                      <a:pt x="758" y="4996"/>
                    </a:cubicBezTo>
                    <a:cubicBezTo>
                      <a:pt x="824" y="5123"/>
                      <a:pt x="943" y="4996"/>
                      <a:pt x="1099" y="5226"/>
                    </a:cubicBezTo>
                    <a:cubicBezTo>
                      <a:pt x="1166" y="5316"/>
                      <a:pt x="1552" y="5286"/>
                      <a:pt x="1589" y="5390"/>
                    </a:cubicBezTo>
                    <a:cubicBezTo>
                      <a:pt x="1633" y="5509"/>
                      <a:pt x="1878" y="5457"/>
                      <a:pt x="1982" y="5605"/>
                    </a:cubicBezTo>
                    <a:cubicBezTo>
                      <a:pt x="2131" y="5212"/>
                      <a:pt x="2235" y="5457"/>
                      <a:pt x="2324" y="5264"/>
                    </a:cubicBezTo>
                    <a:lnTo>
                      <a:pt x="2398" y="5056"/>
                    </a:lnTo>
                    <a:cubicBezTo>
                      <a:pt x="2524" y="4937"/>
                      <a:pt x="2665" y="4959"/>
                      <a:pt x="2702" y="4959"/>
                    </a:cubicBezTo>
                    <a:cubicBezTo>
                      <a:pt x="2836" y="4959"/>
                      <a:pt x="2962" y="4945"/>
                      <a:pt x="3036" y="4878"/>
                    </a:cubicBezTo>
                    <a:cubicBezTo>
                      <a:pt x="3170" y="4759"/>
                      <a:pt x="3178" y="4945"/>
                      <a:pt x="3244" y="4945"/>
                    </a:cubicBezTo>
                    <a:cubicBezTo>
                      <a:pt x="3326" y="4945"/>
                      <a:pt x="3333" y="4841"/>
                      <a:pt x="3386" y="4781"/>
                    </a:cubicBezTo>
                    <a:cubicBezTo>
                      <a:pt x="3452" y="4685"/>
                      <a:pt x="3631" y="4729"/>
                      <a:pt x="3653" y="4729"/>
                    </a:cubicBezTo>
                    <a:lnTo>
                      <a:pt x="4098" y="4729"/>
                    </a:lnTo>
                    <a:cubicBezTo>
                      <a:pt x="4269" y="4729"/>
                      <a:pt x="4284" y="4833"/>
                      <a:pt x="4447" y="4833"/>
                    </a:cubicBezTo>
                    <a:cubicBezTo>
                      <a:pt x="4692" y="4833"/>
                      <a:pt x="4670" y="4648"/>
                      <a:pt x="4803" y="4618"/>
                    </a:cubicBezTo>
                    <a:cubicBezTo>
                      <a:pt x="5063" y="4566"/>
                      <a:pt x="4930" y="4350"/>
                      <a:pt x="4930" y="4336"/>
                    </a:cubicBezTo>
                    <a:cubicBezTo>
                      <a:pt x="4930" y="4247"/>
                      <a:pt x="5026" y="4180"/>
                      <a:pt x="4982" y="4069"/>
                    </a:cubicBezTo>
                    <a:cubicBezTo>
                      <a:pt x="4959" y="4002"/>
                      <a:pt x="4722" y="4098"/>
                      <a:pt x="4781" y="3920"/>
                    </a:cubicBezTo>
                    <a:cubicBezTo>
                      <a:pt x="4878" y="3801"/>
                      <a:pt x="5041" y="3764"/>
                      <a:pt x="5063" y="3549"/>
                    </a:cubicBezTo>
                    <a:cubicBezTo>
                      <a:pt x="5093" y="3274"/>
                      <a:pt x="4878" y="3274"/>
                      <a:pt x="4878" y="3163"/>
                    </a:cubicBezTo>
                    <a:cubicBezTo>
                      <a:pt x="4878" y="3051"/>
                      <a:pt x="5019" y="3044"/>
                      <a:pt x="4989" y="2851"/>
                    </a:cubicBezTo>
                    <a:cubicBezTo>
                      <a:pt x="4952" y="2606"/>
                      <a:pt x="5301" y="2777"/>
                      <a:pt x="5353" y="2643"/>
                    </a:cubicBezTo>
                    <a:cubicBezTo>
                      <a:pt x="5405" y="2524"/>
                      <a:pt x="5308" y="2428"/>
                      <a:pt x="5308" y="2339"/>
                    </a:cubicBezTo>
                    <a:cubicBezTo>
                      <a:pt x="5308" y="2257"/>
                      <a:pt x="5382" y="2220"/>
                      <a:pt x="5382" y="2168"/>
                    </a:cubicBezTo>
                    <a:cubicBezTo>
                      <a:pt x="5382" y="2131"/>
                      <a:pt x="5368" y="2042"/>
                      <a:pt x="5345" y="2019"/>
                    </a:cubicBezTo>
                    <a:cubicBezTo>
                      <a:pt x="5397" y="1952"/>
                      <a:pt x="5397" y="1938"/>
                      <a:pt x="5479" y="1938"/>
                    </a:cubicBezTo>
                    <a:cubicBezTo>
                      <a:pt x="5523" y="1938"/>
                      <a:pt x="5620" y="2019"/>
                      <a:pt x="5642" y="1938"/>
                    </a:cubicBezTo>
                    <a:lnTo>
                      <a:pt x="5642" y="1782"/>
                    </a:lnTo>
                    <a:cubicBezTo>
                      <a:pt x="5642" y="1737"/>
                      <a:pt x="5702" y="1685"/>
                      <a:pt x="5724" y="1685"/>
                    </a:cubicBezTo>
                    <a:cubicBezTo>
                      <a:pt x="5835" y="1685"/>
                      <a:pt x="5798" y="1864"/>
                      <a:pt x="5976" y="1871"/>
                    </a:cubicBezTo>
                    <a:cubicBezTo>
                      <a:pt x="6073" y="1878"/>
                      <a:pt x="6184" y="1752"/>
                      <a:pt x="6192" y="1708"/>
                    </a:cubicBezTo>
                    <a:cubicBezTo>
                      <a:pt x="6206" y="1656"/>
                      <a:pt x="6177" y="1544"/>
                      <a:pt x="6177" y="1433"/>
                    </a:cubicBezTo>
                    <a:cubicBezTo>
                      <a:pt x="6177" y="1195"/>
                      <a:pt x="5932" y="1403"/>
                      <a:pt x="5917" y="884"/>
                    </a:cubicBezTo>
                    <a:lnTo>
                      <a:pt x="5902" y="884"/>
                    </a:lnTo>
                    <a:close/>
                  </a:path>
                </a:pathLst>
              </a:custGeom>
              <a:solidFill>
                <a:srgbClr val="33CCCC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pt-BR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19" name="Grupo 1"/>
            <p:cNvGrpSpPr>
              <a:grpSpLocks/>
            </p:cNvGrpSpPr>
            <p:nvPr/>
          </p:nvGrpSpPr>
          <p:grpSpPr bwMode="auto">
            <a:xfrm>
              <a:off x="6954634" y="4590068"/>
              <a:ext cx="458776" cy="564472"/>
              <a:chOff x="4775592" y="5538846"/>
              <a:chExt cx="525211" cy="581459"/>
            </a:xfrm>
          </p:grpSpPr>
          <p:sp>
            <p:nvSpPr>
              <p:cNvPr id="220" name="Freeform 179"/>
              <p:cNvSpPr>
                <a:spLocks/>
              </p:cNvSpPr>
              <p:nvPr/>
            </p:nvSpPr>
            <p:spPr bwMode="auto">
              <a:xfrm>
                <a:off x="5082878" y="5732144"/>
                <a:ext cx="217925" cy="156831"/>
              </a:xfrm>
              <a:custGeom>
                <a:avLst/>
                <a:gdLst>
                  <a:gd name="T0" fmla="*/ 390075 w 1561"/>
                  <a:gd name="T1" fmla="*/ 1751877 h 1131"/>
                  <a:gd name="T2" fmla="*/ 468146 w 1561"/>
                  <a:gd name="T3" fmla="*/ 1713443 h 1131"/>
                  <a:gd name="T4" fmla="*/ 643701 w 1561"/>
                  <a:gd name="T5" fmla="*/ 1617149 h 1131"/>
                  <a:gd name="T6" fmla="*/ 799703 w 1561"/>
                  <a:gd name="T7" fmla="*/ 1540142 h 1131"/>
                  <a:gd name="T8" fmla="*/ 897187 w 1561"/>
                  <a:gd name="T9" fmla="*/ 1540142 h 1131"/>
                  <a:gd name="T10" fmla="*/ 975258 w 1561"/>
                  <a:gd name="T11" fmla="*/ 1501708 h 1131"/>
                  <a:gd name="T12" fmla="*/ 1092295 w 1561"/>
                  <a:gd name="T13" fmla="*/ 1463135 h 1131"/>
                  <a:gd name="T14" fmla="*/ 1228884 w 1561"/>
                  <a:gd name="T15" fmla="*/ 1405414 h 1131"/>
                  <a:gd name="T16" fmla="*/ 1326368 w 1561"/>
                  <a:gd name="T17" fmla="*/ 1424701 h 1131"/>
                  <a:gd name="T18" fmla="*/ 1482370 w 1561"/>
                  <a:gd name="T19" fmla="*/ 1463135 h 1131"/>
                  <a:gd name="T20" fmla="*/ 1579993 w 1561"/>
                  <a:gd name="T21" fmla="*/ 1501708 h 1131"/>
                  <a:gd name="T22" fmla="*/ 1579993 w 1561"/>
                  <a:gd name="T23" fmla="*/ 1424701 h 1131"/>
                  <a:gd name="T24" fmla="*/ 1697030 w 1561"/>
                  <a:gd name="T25" fmla="*/ 1405414 h 1131"/>
                  <a:gd name="T26" fmla="*/ 1794514 w 1561"/>
                  <a:gd name="T27" fmla="*/ 1482422 h 1131"/>
                  <a:gd name="T28" fmla="*/ 1970069 w 1561"/>
                  <a:gd name="T29" fmla="*/ 1482422 h 1131"/>
                  <a:gd name="T30" fmla="*/ 2145624 w 1561"/>
                  <a:gd name="T31" fmla="*/ 1482422 h 1131"/>
                  <a:gd name="T32" fmla="*/ 2321178 w 1561"/>
                  <a:gd name="T33" fmla="*/ 1520856 h 1131"/>
                  <a:gd name="T34" fmla="*/ 2379697 w 1561"/>
                  <a:gd name="T35" fmla="*/ 1501708 h 1131"/>
                  <a:gd name="T36" fmla="*/ 2496733 w 1561"/>
                  <a:gd name="T37" fmla="*/ 1482422 h 1131"/>
                  <a:gd name="T38" fmla="*/ 2574664 w 1561"/>
                  <a:gd name="T39" fmla="*/ 1463135 h 1131"/>
                  <a:gd name="T40" fmla="*/ 2574664 w 1561"/>
                  <a:gd name="T41" fmla="*/ 1366841 h 1131"/>
                  <a:gd name="T42" fmla="*/ 2496733 w 1561"/>
                  <a:gd name="T43" fmla="*/ 1289834 h 1131"/>
                  <a:gd name="T44" fmla="*/ 2399110 w 1561"/>
                  <a:gd name="T45" fmla="*/ 1270687 h 1131"/>
                  <a:gd name="T46" fmla="*/ 2301626 w 1561"/>
                  <a:gd name="T47" fmla="*/ 1212827 h 1131"/>
                  <a:gd name="T48" fmla="*/ 2243107 w 1561"/>
                  <a:gd name="T49" fmla="*/ 1135820 h 1131"/>
                  <a:gd name="T50" fmla="*/ 2145624 w 1561"/>
                  <a:gd name="T51" fmla="*/ 1097386 h 1131"/>
                  <a:gd name="T52" fmla="*/ 2087105 w 1561"/>
                  <a:gd name="T53" fmla="*/ 981806 h 1131"/>
                  <a:gd name="T54" fmla="*/ 2048000 w 1561"/>
                  <a:gd name="T55" fmla="*/ 904799 h 1131"/>
                  <a:gd name="T56" fmla="*/ 2009034 w 1561"/>
                  <a:gd name="T57" fmla="*/ 712350 h 1131"/>
                  <a:gd name="T58" fmla="*/ 1950516 w 1561"/>
                  <a:gd name="T59" fmla="*/ 577623 h 1131"/>
                  <a:gd name="T60" fmla="*/ 1814067 w 1561"/>
                  <a:gd name="T61" fmla="*/ 481329 h 1131"/>
                  <a:gd name="T62" fmla="*/ 1638512 w 1561"/>
                  <a:gd name="T63" fmla="*/ 365749 h 1131"/>
                  <a:gd name="T64" fmla="*/ 1599406 w 1561"/>
                  <a:gd name="T65" fmla="*/ 269594 h 1131"/>
                  <a:gd name="T66" fmla="*/ 1560441 w 1561"/>
                  <a:gd name="T67" fmla="*/ 288742 h 1131"/>
                  <a:gd name="T68" fmla="*/ 1521475 w 1561"/>
                  <a:gd name="T69" fmla="*/ 308028 h 1131"/>
                  <a:gd name="T70" fmla="*/ 1404439 w 1561"/>
                  <a:gd name="T71" fmla="*/ 288742 h 1131"/>
                  <a:gd name="T72" fmla="*/ 1248297 w 1561"/>
                  <a:gd name="T73" fmla="*/ 115580 h 1131"/>
                  <a:gd name="T74" fmla="*/ 1033776 w 1561"/>
                  <a:gd name="T75" fmla="*/ 57721 h 1131"/>
                  <a:gd name="T76" fmla="*/ 1053329 w 1561"/>
                  <a:gd name="T77" fmla="*/ 154014 h 1131"/>
                  <a:gd name="T78" fmla="*/ 994811 w 1561"/>
                  <a:gd name="T79" fmla="*/ 327315 h 1131"/>
                  <a:gd name="T80" fmla="*/ 955705 w 1561"/>
                  <a:gd name="T81" fmla="*/ 519763 h 1131"/>
                  <a:gd name="T82" fmla="*/ 780151 w 1561"/>
                  <a:gd name="T83" fmla="*/ 577623 h 1131"/>
                  <a:gd name="T84" fmla="*/ 780151 w 1561"/>
                  <a:gd name="T85" fmla="*/ 558336 h 1131"/>
                  <a:gd name="T86" fmla="*/ 702219 w 1561"/>
                  <a:gd name="T87" fmla="*/ 654630 h 1131"/>
                  <a:gd name="T88" fmla="*/ 643701 w 1561"/>
                  <a:gd name="T89" fmla="*/ 712350 h 1131"/>
                  <a:gd name="T90" fmla="*/ 624148 w 1561"/>
                  <a:gd name="T91" fmla="*/ 808644 h 1131"/>
                  <a:gd name="T92" fmla="*/ 487699 w 1561"/>
                  <a:gd name="T93" fmla="*/ 981806 h 1131"/>
                  <a:gd name="T94" fmla="*/ 292591 w 1561"/>
                  <a:gd name="T95" fmla="*/ 1097386 h 1131"/>
                  <a:gd name="T96" fmla="*/ 117037 w 1561"/>
                  <a:gd name="T97" fmla="*/ 1039665 h 1131"/>
                  <a:gd name="T98" fmla="*/ 38966 w 1561"/>
                  <a:gd name="T99" fmla="*/ 1135820 h 1131"/>
                  <a:gd name="T100" fmla="*/ 0 w 1561"/>
                  <a:gd name="T101" fmla="*/ 1270687 h 1131"/>
                  <a:gd name="T102" fmla="*/ 38966 w 1561"/>
                  <a:gd name="T103" fmla="*/ 1386128 h 1131"/>
                  <a:gd name="T104" fmla="*/ 19553 w 1561"/>
                  <a:gd name="T105" fmla="*/ 1482422 h 1131"/>
                  <a:gd name="T106" fmla="*/ 273039 w 1561"/>
                  <a:gd name="T107" fmla="*/ 1828884 h 1131"/>
                  <a:gd name="T108" fmla="*/ 390075 w 1561"/>
                  <a:gd name="T109" fmla="*/ 1790450 h 113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561" h="1131">
                    <a:moveTo>
                      <a:pt x="237" y="1113"/>
                    </a:moveTo>
                    <a:lnTo>
                      <a:pt x="237" y="1084"/>
                    </a:lnTo>
                    <a:lnTo>
                      <a:pt x="261" y="1067"/>
                    </a:lnTo>
                    <a:lnTo>
                      <a:pt x="289" y="1059"/>
                    </a:lnTo>
                    <a:lnTo>
                      <a:pt x="333" y="1007"/>
                    </a:lnTo>
                    <a:lnTo>
                      <a:pt x="385" y="998"/>
                    </a:lnTo>
                    <a:lnTo>
                      <a:pt x="444" y="955"/>
                    </a:lnTo>
                    <a:lnTo>
                      <a:pt x="484" y="955"/>
                    </a:lnTo>
                    <a:lnTo>
                      <a:pt x="506" y="970"/>
                    </a:lnTo>
                    <a:lnTo>
                      <a:pt x="541" y="958"/>
                    </a:lnTo>
                    <a:lnTo>
                      <a:pt x="566" y="933"/>
                    </a:lnTo>
                    <a:lnTo>
                      <a:pt x="591" y="926"/>
                    </a:lnTo>
                    <a:lnTo>
                      <a:pt x="625" y="910"/>
                    </a:lnTo>
                    <a:lnTo>
                      <a:pt x="667" y="905"/>
                    </a:lnTo>
                    <a:lnTo>
                      <a:pt x="716" y="865"/>
                    </a:lnTo>
                    <a:lnTo>
                      <a:pt x="749" y="868"/>
                    </a:lnTo>
                    <a:lnTo>
                      <a:pt x="766" y="890"/>
                    </a:lnTo>
                    <a:lnTo>
                      <a:pt x="810" y="880"/>
                    </a:lnTo>
                    <a:lnTo>
                      <a:pt x="872" y="912"/>
                    </a:lnTo>
                    <a:lnTo>
                      <a:pt x="900" y="903"/>
                    </a:lnTo>
                    <a:lnTo>
                      <a:pt x="937" y="949"/>
                    </a:lnTo>
                    <a:lnTo>
                      <a:pt x="961" y="932"/>
                    </a:lnTo>
                    <a:lnTo>
                      <a:pt x="939" y="907"/>
                    </a:lnTo>
                    <a:lnTo>
                      <a:pt x="961" y="882"/>
                    </a:lnTo>
                    <a:lnTo>
                      <a:pt x="979" y="860"/>
                    </a:lnTo>
                    <a:lnTo>
                      <a:pt x="1028" y="865"/>
                    </a:lnTo>
                    <a:lnTo>
                      <a:pt x="1070" y="892"/>
                    </a:lnTo>
                    <a:lnTo>
                      <a:pt x="1090" y="919"/>
                    </a:lnTo>
                    <a:lnTo>
                      <a:pt x="1159" y="919"/>
                    </a:lnTo>
                    <a:lnTo>
                      <a:pt x="1191" y="913"/>
                    </a:lnTo>
                    <a:lnTo>
                      <a:pt x="1243" y="915"/>
                    </a:lnTo>
                    <a:lnTo>
                      <a:pt x="1301" y="911"/>
                    </a:lnTo>
                    <a:lnTo>
                      <a:pt x="1358" y="922"/>
                    </a:lnTo>
                    <a:lnTo>
                      <a:pt x="1402" y="946"/>
                    </a:lnTo>
                    <a:lnTo>
                      <a:pt x="1419" y="953"/>
                    </a:lnTo>
                    <a:lnTo>
                      <a:pt x="1440" y="930"/>
                    </a:lnTo>
                    <a:lnTo>
                      <a:pt x="1470" y="936"/>
                    </a:lnTo>
                    <a:lnTo>
                      <a:pt x="1512" y="921"/>
                    </a:lnTo>
                    <a:lnTo>
                      <a:pt x="1531" y="910"/>
                    </a:lnTo>
                    <a:lnTo>
                      <a:pt x="1559" y="901"/>
                    </a:lnTo>
                    <a:lnTo>
                      <a:pt x="1559" y="883"/>
                    </a:lnTo>
                    <a:lnTo>
                      <a:pt x="1561" y="841"/>
                    </a:lnTo>
                    <a:lnTo>
                      <a:pt x="1538" y="819"/>
                    </a:lnTo>
                    <a:lnTo>
                      <a:pt x="1515" y="797"/>
                    </a:lnTo>
                    <a:lnTo>
                      <a:pt x="1470" y="799"/>
                    </a:lnTo>
                    <a:lnTo>
                      <a:pt x="1451" y="786"/>
                    </a:lnTo>
                    <a:lnTo>
                      <a:pt x="1431" y="772"/>
                    </a:lnTo>
                    <a:cubicBezTo>
                      <a:pt x="1427" y="769"/>
                      <a:pt x="1391" y="750"/>
                      <a:pt x="1391" y="750"/>
                    </a:cubicBezTo>
                    <a:lnTo>
                      <a:pt x="1373" y="721"/>
                    </a:lnTo>
                    <a:lnTo>
                      <a:pt x="1358" y="706"/>
                    </a:lnTo>
                    <a:cubicBezTo>
                      <a:pt x="1358" y="706"/>
                      <a:pt x="1329" y="696"/>
                      <a:pt x="1324" y="694"/>
                    </a:cubicBezTo>
                    <a:cubicBezTo>
                      <a:pt x="1318" y="691"/>
                      <a:pt x="1301" y="675"/>
                      <a:pt x="1301" y="675"/>
                    </a:cubicBezTo>
                    <a:cubicBezTo>
                      <a:pt x="1301" y="675"/>
                      <a:pt x="1283" y="646"/>
                      <a:pt x="1282" y="642"/>
                    </a:cubicBezTo>
                    <a:cubicBezTo>
                      <a:pt x="1280" y="638"/>
                      <a:pt x="1262" y="611"/>
                      <a:pt x="1262" y="611"/>
                    </a:cubicBezTo>
                    <a:lnTo>
                      <a:pt x="1248" y="601"/>
                    </a:lnTo>
                    <a:lnTo>
                      <a:pt x="1246" y="565"/>
                    </a:lnTo>
                    <a:lnTo>
                      <a:pt x="1244" y="497"/>
                    </a:lnTo>
                    <a:lnTo>
                      <a:pt x="1213" y="441"/>
                    </a:lnTo>
                    <a:lnTo>
                      <a:pt x="1168" y="382"/>
                    </a:lnTo>
                    <a:lnTo>
                      <a:pt x="1179" y="356"/>
                    </a:lnTo>
                    <a:lnTo>
                      <a:pt x="1166" y="324"/>
                    </a:lnTo>
                    <a:lnTo>
                      <a:pt x="1094" y="295"/>
                    </a:lnTo>
                    <a:lnTo>
                      <a:pt x="1037" y="221"/>
                    </a:lnTo>
                    <a:lnTo>
                      <a:pt x="994" y="221"/>
                    </a:lnTo>
                    <a:lnTo>
                      <a:pt x="999" y="180"/>
                    </a:lnTo>
                    <a:lnTo>
                      <a:pt x="971" y="172"/>
                    </a:lnTo>
                    <a:lnTo>
                      <a:pt x="952" y="197"/>
                    </a:lnTo>
                    <a:lnTo>
                      <a:pt x="950" y="173"/>
                    </a:lnTo>
                    <a:lnTo>
                      <a:pt x="935" y="170"/>
                    </a:lnTo>
                    <a:lnTo>
                      <a:pt x="924" y="187"/>
                    </a:lnTo>
                    <a:lnTo>
                      <a:pt x="881" y="187"/>
                    </a:lnTo>
                    <a:lnTo>
                      <a:pt x="853" y="176"/>
                    </a:lnTo>
                    <a:lnTo>
                      <a:pt x="803" y="141"/>
                    </a:lnTo>
                    <a:lnTo>
                      <a:pt x="753" y="69"/>
                    </a:lnTo>
                    <a:lnTo>
                      <a:pt x="659" y="0"/>
                    </a:lnTo>
                    <a:cubicBezTo>
                      <a:pt x="659" y="0"/>
                      <a:pt x="629" y="21"/>
                      <a:pt x="623" y="31"/>
                    </a:cubicBezTo>
                    <a:cubicBezTo>
                      <a:pt x="617" y="40"/>
                      <a:pt x="623" y="60"/>
                      <a:pt x="623" y="60"/>
                    </a:cubicBezTo>
                    <a:cubicBezTo>
                      <a:pt x="623" y="60"/>
                      <a:pt x="640" y="91"/>
                      <a:pt x="641" y="101"/>
                    </a:cubicBezTo>
                    <a:cubicBezTo>
                      <a:pt x="643" y="110"/>
                      <a:pt x="630" y="168"/>
                      <a:pt x="630" y="168"/>
                    </a:cubicBezTo>
                    <a:cubicBezTo>
                      <a:pt x="630" y="168"/>
                      <a:pt x="612" y="180"/>
                      <a:pt x="605" y="200"/>
                    </a:cubicBezTo>
                    <a:cubicBezTo>
                      <a:pt x="598" y="219"/>
                      <a:pt x="592" y="254"/>
                      <a:pt x="592" y="254"/>
                    </a:cubicBezTo>
                    <a:cubicBezTo>
                      <a:pt x="592" y="254"/>
                      <a:pt x="587" y="313"/>
                      <a:pt x="585" y="327"/>
                    </a:cubicBezTo>
                    <a:cubicBezTo>
                      <a:pt x="584" y="341"/>
                      <a:pt x="546" y="358"/>
                      <a:pt x="546" y="358"/>
                    </a:cubicBezTo>
                    <a:lnTo>
                      <a:pt x="473" y="358"/>
                    </a:lnTo>
                    <a:lnTo>
                      <a:pt x="471" y="329"/>
                    </a:lnTo>
                    <a:lnTo>
                      <a:pt x="472" y="343"/>
                    </a:lnTo>
                    <a:cubicBezTo>
                      <a:pt x="472" y="343"/>
                      <a:pt x="447" y="326"/>
                      <a:pt x="433" y="344"/>
                    </a:cubicBezTo>
                    <a:cubicBezTo>
                      <a:pt x="418" y="361"/>
                      <a:pt x="421" y="399"/>
                      <a:pt x="421" y="399"/>
                    </a:cubicBezTo>
                    <a:lnTo>
                      <a:pt x="397" y="410"/>
                    </a:lnTo>
                    <a:lnTo>
                      <a:pt x="396" y="444"/>
                    </a:lnTo>
                    <a:lnTo>
                      <a:pt x="395" y="472"/>
                    </a:lnTo>
                    <a:lnTo>
                      <a:pt x="375" y="501"/>
                    </a:lnTo>
                    <a:lnTo>
                      <a:pt x="318" y="567"/>
                    </a:lnTo>
                    <a:lnTo>
                      <a:pt x="292" y="609"/>
                    </a:lnTo>
                    <a:lnTo>
                      <a:pt x="223" y="668"/>
                    </a:lnTo>
                    <a:lnTo>
                      <a:pt x="175" y="675"/>
                    </a:lnTo>
                    <a:lnTo>
                      <a:pt x="120" y="649"/>
                    </a:lnTo>
                    <a:lnTo>
                      <a:pt x="67" y="647"/>
                    </a:lnTo>
                    <a:lnTo>
                      <a:pt x="18" y="675"/>
                    </a:lnTo>
                    <a:lnTo>
                      <a:pt x="26" y="702"/>
                    </a:lnTo>
                    <a:lnTo>
                      <a:pt x="26" y="754"/>
                    </a:lnTo>
                    <a:lnTo>
                      <a:pt x="2" y="785"/>
                    </a:lnTo>
                    <a:lnTo>
                      <a:pt x="0" y="833"/>
                    </a:lnTo>
                    <a:lnTo>
                      <a:pt x="21" y="858"/>
                    </a:lnTo>
                    <a:lnTo>
                      <a:pt x="24" y="885"/>
                    </a:lnTo>
                    <a:lnTo>
                      <a:pt x="7" y="911"/>
                    </a:lnTo>
                    <a:lnTo>
                      <a:pt x="30" y="1044"/>
                    </a:lnTo>
                    <a:cubicBezTo>
                      <a:pt x="30" y="1044"/>
                      <a:pt x="149" y="1131"/>
                      <a:pt x="164" y="1131"/>
                    </a:cubicBezTo>
                    <a:cubicBezTo>
                      <a:pt x="180" y="1131"/>
                      <a:pt x="196" y="1115"/>
                      <a:pt x="196" y="1115"/>
                    </a:cubicBezTo>
                    <a:lnTo>
                      <a:pt x="237" y="1113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 dirty="0">
                  <a:solidFill>
                    <a:prstClr val="black"/>
                  </a:solidFill>
                  <a:ea typeface="ヒラギノ角ゴ Pro W3" pitchFamily="1" charset="-128"/>
                </a:endParaRPr>
              </a:p>
            </p:txBody>
          </p:sp>
          <p:sp>
            <p:nvSpPr>
              <p:cNvPr id="221" name="Freeform 180"/>
              <p:cNvSpPr>
                <a:spLocks/>
              </p:cNvSpPr>
              <p:nvPr/>
            </p:nvSpPr>
            <p:spPr bwMode="auto">
              <a:xfrm>
                <a:off x="4778895" y="5808101"/>
                <a:ext cx="183328" cy="123890"/>
              </a:xfrm>
              <a:custGeom>
                <a:avLst/>
                <a:gdLst>
                  <a:gd name="T0" fmla="*/ 2147483647 w 1308"/>
                  <a:gd name="T1" fmla="*/ 2147483647 h 883"/>
                  <a:gd name="T2" fmla="*/ 2147483647 w 1308"/>
                  <a:gd name="T3" fmla="*/ 2147483647 h 883"/>
                  <a:gd name="T4" fmla="*/ 2147483647 w 1308"/>
                  <a:gd name="T5" fmla="*/ 2147483647 h 883"/>
                  <a:gd name="T6" fmla="*/ 2147483647 w 1308"/>
                  <a:gd name="T7" fmla="*/ 2147483647 h 883"/>
                  <a:gd name="T8" fmla="*/ 2147483647 w 1308"/>
                  <a:gd name="T9" fmla="*/ 2147483647 h 883"/>
                  <a:gd name="T10" fmla="*/ 2147483647 w 1308"/>
                  <a:gd name="T11" fmla="*/ 2147483647 h 883"/>
                  <a:gd name="T12" fmla="*/ 2147483647 w 1308"/>
                  <a:gd name="T13" fmla="*/ 2147483647 h 883"/>
                  <a:gd name="T14" fmla="*/ 2147483647 w 1308"/>
                  <a:gd name="T15" fmla="*/ 2147483647 h 883"/>
                  <a:gd name="T16" fmla="*/ 2147483647 w 1308"/>
                  <a:gd name="T17" fmla="*/ 2147483647 h 883"/>
                  <a:gd name="T18" fmla="*/ 2147483647 w 1308"/>
                  <a:gd name="T19" fmla="*/ 2147483647 h 883"/>
                  <a:gd name="T20" fmla="*/ 2147483647 w 1308"/>
                  <a:gd name="T21" fmla="*/ 2147483647 h 883"/>
                  <a:gd name="T22" fmla="*/ 2147483647 w 1308"/>
                  <a:gd name="T23" fmla="*/ 2147483647 h 883"/>
                  <a:gd name="T24" fmla="*/ 2147483647 w 1308"/>
                  <a:gd name="T25" fmla="*/ 2147483647 h 883"/>
                  <a:gd name="T26" fmla="*/ 2147483647 w 1308"/>
                  <a:gd name="T27" fmla="*/ 2147483647 h 883"/>
                  <a:gd name="T28" fmla="*/ 2147483647 w 1308"/>
                  <a:gd name="T29" fmla="*/ 2147483647 h 883"/>
                  <a:gd name="T30" fmla="*/ 2147483647 w 1308"/>
                  <a:gd name="T31" fmla="*/ 2147483647 h 883"/>
                  <a:gd name="T32" fmla="*/ 2147483647 w 1308"/>
                  <a:gd name="T33" fmla="*/ 2147483647 h 883"/>
                  <a:gd name="T34" fmla="*/ 2147483647 w 1308"/>
                  <a:gd name="T35" fmla="*/ 2147483647 h 883"/>
                  <a:gd name="T36" fmla="*/ 2147483647 w 1308"/>
                  <a:gd name="T37" fmla="*/ 2147483647 h 883"/>
                  <a:gd name="T38" fmla="*/ 2147483647 w 1308"/>
                  <a:gd name="T39" fmla="*/ 2147483647 h 883"/>
                  <a:gd name="T40" fmla="*/ 2147483647 w 1308"/>
                  <a:gd name="T41" fmla="*/ 2147483647 h 883"/>
                  <a:gd name="T42" fmla="*/ 2147483647 w 1308"/>
                  <a:gd name="T43" fmla="*/ 2147483647 h 883"/>
                  <a:gd name="T44" fmla="*/ 2147483647 w 1308"/>
                  <a:gd name="T45" fmla="*/ 2147483647 h 883"/>
                  <a:gd name="T46" fmla="*/ 2147483647 w 1308"/>
                  <a:gd name="T47" fmla="*/ 2147483647 h 883"/>
                  <a:gd name="T48" fmla="*/ 2147483647 w 1308"/>
                  <a:gd name="T49" fmla="*/ 2147483647 h 883"/>
                  <a:gd name="T50" fmla="*/ 2147483647 w 1308"/>
                  <a:gd name="T51" fmla="*/ 2147483647 h 883"/>
                  <a:gd name="T52" fmla="*/ 0 w 1308"/>
                  <a:gd name="T53" fmla="*/ 2147483647 h 883"/>
                  <a:gd name="T54" fmla="*/ 2147483647 w 1308"/>
                  <a:gd name="T55" fmla="*/ 2147483647 h 883"/>
                  <a:gd name="T56" fmla="*/ 2147483647 w 1308"/>
                  <a:gd name="T57" fmla="*/ 2147483647 h 883"/>
                  <a:gd name="T58" fmla="*/ 2147483647 w 1308"/>
                  <a:gd name="T59" fmla="*/ 2147483647 h 883"/>
                  <a:gd name="T60" fmla="*/ 2147483647 w 1308"/>
                  <a:gd name="T61" fmla="*/ 2147483647 h 883"/>
                  <a:gd name="T62" fmla="*/ 2147483647 w 1308"/>
                  <a:gd name="T63" fmla="*/ 2147483647 h 883"/>
                  <a:gd name="T64" fmla="*/ 2147483647 w 1308"/>
                  <a:gd name="T65" fmla="*/ 2147483647 h 883"/>
                  <a:gd name="T66" fmla="*/ 2147483647 w 1308"/>
                  <a:gd name="T67" fmla="*/ 2147483647 h 883"/>
                  <a:gd name="T68" fmla="*/ 2147483647 w 1308"/>
                  <a:gd name="T69" fmla="*/ 2147483647 h 883"/>
                  <a:gd name="T70" fmla="*/ 2147483647 w 1308"/>
                  <a:gd name="T71" fmla="*/ 2147483647 h 883"/>
                  <a:gd name="T72" fmla="*/ 2147483647 w 1308"/>
                  <a:gd name="T73" fmla="*/ 2147483647 h 883"/>
                  <a:gd name="T74" fmla="*/ 2147483647 w 1308"/>
                  <a:gd name="T75" fmla="*/ 2147483647 h 883"/>
                  <a:gd name="T76" fmla="*/ 2147483647 w 1308"/>
                  <a:gd name="T77" fmla="*/ 2147483647 h 883"/>
                  <a:gd name="T78" fmla="*/ 2147483647 w 1308"/>
                  <a:gd name="T79" fmla="*/ 2147483647 h 883"/>
                  <a:gd name="T80" fmla="*/ 2147483647 w 1308"/>
                  <a:gd name="T81" fmla="*/ 2147483647 h 883"/>
                  <a:gd name="T82" fmla="*/ 2147483647 w 1308"/>
                  <a:gd name="T83" fmla="*/ 2147483647 h 883"/>
                  <a:gd name="T84" fmla="*/ 2147483647 w 1308"/>
                  <a:gd name="T85" fmla="*/ 0 h 883"/>
                  <a:gd name="T86" fmla="*/ 2147483647 w 1308"/>
                  <a:gd name="T87" fmla="*/ 2147483647 h 883"/>
                  <a:gd name="T88" fmla="*/ 2147483647 w 1308"/>
                  <a:gd name="T89" fmla="*/ 2147483647 h 883"/>
                  <a:gd name="T90" fmla="*/ 2147483647 w 1308"/>
                  <a:gd name="T91" fmla="*/ 2147483647 h 883"/>
                  <a:gd name="T92" fmla="*/ 2147483647 w 1308"/>
                  <a:gd name="T93" fmla="*/ 2147483647 h 883"/>
                  <a:gd name="T94" fmla="*/ 2147483647 w 1308"/>
                  <a:gd name="T95" fmla="*/ 2147483647 h 883"/>
                  <a:gd name="T96" fmla="*/ 2147483647 w 1308"/>
                  <a:gd name="T97" fmla="*/ 2147483647 h 883"/>
                  <a:gd name="T98" fmla="*/ 2147483647 w 1308"/>
                  <a:gd name="T99" fmla="*/ 2147483647 h 883"/>
                  <a:gd name="T100" fmla="*/ 2147483647 w 1308"/>
                  <a:gd name="T101" fmla="*/ 2147483647 h 88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308" h="883">
                    <a:moveTo>
                      <a:pt x="1227" y="394"/>
                    </a:moveTo>
                    <a:lnTo>
                      <a:pt x="1208" y="409"/>
                    </a:lnTo>
                    <a:lnTo>
                      <a:pt x="1204" y="433"/>
                    </a:lnTo>
                    <a:lnTo>
                      <a:pt x="1172" y="444"/>
                    </a:lnTo>
                    <a:lnTo>
                      <a:pt x="1147" y="436"/>
                    </a:lnTo>
                    <a:lnTo>
                      <a:pt x="1119" y="464"/>
                    </a:lnTo>
                    <a:cubicBezTo>
                      <a:pt x="1119" y="464"/>
                      <a:pt x="1133" y="481"/>
                      <a:pt x="1122" y="493"/>
                    </a:cubicBezTo>
                    <a:cubicBezTo>
                      <a:pt x="1111" y="506"/>
                      <a:pt x="1077" y="492"/>
                      <a:pt x="1073" y="502"/>
                    </a:cubicBezTo>
                    <a:cubicBezTo>
                      <a:pt x="1069" y="511"/>
                      <a:pt x="1083" y="534"/>
                      <a:pt x="1071" y="539"/>
                    </a:cubicBezTo>
                    <a:cubicBezTo>
                      <a:pt x="1060" y="545"/>
                      <a:pt x="1038" y="530"/>
                      <a:pt x="1038" y="530"/>
                    </a:cubicBezTo>
                    <a:lnTo>
                      <a:pt x="1015" y="535"/>
                    </a:lnTo>
                    <a:lnTo>
                      <a:pt x="993" y="565"/>
                    </a:lnTo>
                    <a:lnTo>
                      <a:pt x="1000" y="588"/>
                    </a:lnTo>
                    <a:lnTo>
                      <a:pt x="967" y="586"/>
                    </a:lnTo>
                    <a:lnTo>
                      <a:pt x="950" y="570"/>
                    </a:lnTo>
                    <a:lnTo>
                      <a:pt x="920" y="560"/>
                    </a:lnTo>
                    <a:lnTo>
                      <a:pt x="883" y="573"/>
                    </a:lnTo>
                    <a:lnTo>
                      <a:pt x="859" y="608"/>
                    </a:lnTo>
                    <a:lnTo>
                      <a:pt x="863" y="632"/>
                    </a:lnTo>
                    <a:lnTo>
                      <a:pt x="897" y="644"/>
                    </a:lnTo>
                    <a:lnTo>
                      <a:pt x="884" y="667"/>
                    </a:lnTo>
                    <a:lnTo>
                      <a:pt x="789" y="675"/>
                    </a:lnTo>
                    <a:lnTo>
                      <a:pt x="740" y="633"/>
                    </a:lnTo>
                    <a:lnTo>
                      <a:pt x="664" y="630"/>
                    </a:lnTo>
                    <a:lnTo>
                      <a:pt x="627" y="569"/>
                    </a:lnTo>
                    <a:lnTo>
                      <a:pt x="588" y="567"/>
                    </a:lnTo>
                    <a:lnTo>
                      <a:pt x="536" y="621"/>
                    </a:lnTo>
                    <a:lnTo>
                      <a:pt x="501" y="623"/>
                    </a:lnTo>
                    <a:lnTo>
                      <a:pt x="467" y="605"/>
                    </a:lnTo>
                    <a:lnTo>
                      <a:pt x="432" y="615"/>
                    </a:lnTo>
                    <a:lnTo>
                      <a:pt x="399" y="600"/>
                    </a:lnTo>
                    <a:lnTo>
                      <a:pt x="353" y="601"/>
                    </a:lnTo>
                    <a:lnTo>
                      <a:pt x="313" y="623"/>
                    </a:lnTo>
                    <a:lnTo>
                      <a:pt x="311" y="657"/>
                    </a:lnTo>
                    <a:lnTo>
                      <a:pt x="289" y="680"/>
                    </a:lnTo>
                    <a:lnTo>
                      <a:pt x="240" y="687"/>
                    </a:lnTo>
                    <a:lnTo>
                      <a:pt x="233" y="721"/>
                    </a:lnTo>
                    <a:lnTo>
                      <a:pt x="253" y="740"/>
                    </a:lnTo>
                    <a:lnTo>
                      <a:pt x="262" y="761"/>
                    </a:lnTo>
                    <a:cubicBezTo>
                      <a:pt x="262" y="761"/>
                      <a:pt x="260" y="778"/>
                      <a:pt x="250" y="778"/>
                    </a:cubicBezTo>
                    <a:cubicBezTo>
                      <a:pt x="240" y="778"/>
                      <a:pt x="218" y="768"/>
                      <a:pt x="218" y="768"/>
                    </a:cubicBezTo>
                    <a:lnTo>
                      <a:pt x="180" y="763"/>
                    </a:lnTo>
                    <a:lnTo>
                      <a:pt x="155" y="782"/>
                    </a:lnTo>
                    <a:lnTo>
                      <a:pt x="175" y="801"/>
                    </a:lnTo>
                    <a:lnTo>
                      <a:pt x="169" y="821"/>
                    </a:lnTo>
                    <a:cubicBezTo>
                      <a:pt x="169" y="821"/>
                      <a:pt x="142" y="821"/>
                      <a:pt x="133" y="821"/>
                    </a:cubicBezTo>
                    <a:cubicBezTo>
                      <a:pt x="124" y="820"/>
                      <a:pt x="100" y="828"/>
                      <a:pt x="100" y="828"/>
                    </a:cubicBezTo>
                    <a:lnTo>
                      <a:pt x="75" y="857"/>
                    </a:lnTo>
                    <a:lnTo>
                      <a:pt x="58" y="880"/>
                    </a:lnTo>
                    <a:cubicBezTo>
                      <a:pt x="58" y="880"/>
                      <a:pt x="28" y="883"/>
                      <a:pt x="21" y="873"/>
                    </a:cubicBezTo>
                    <a:cubicBezTo>
                      <a:pt x="14" y="862"/>
                      <a:pt x="10" y="843"/>
                      <a:pt x="10" y="843"/>
                    </a:cubicBezTo>
                    <a:lnTo>
                      <a:pt x="28" y="815"/>
                    </a:lnTo>
                    <a:lnTo>
                      <a:pt x="26" y="780"/>
                    </a:lnTo>
                    <a:cubicBezTo>
                      <a:pt x="26" y="780"/>
                      <a:pt x="0" y="749"/>
                      <a:pt x="0" y="735"/>
                    </a:cubicBezTo>
                    <a:cubicBezTo>
                      <a:pt x="0" y="721"/>
                      <a:pt x="0" y="691"/>
                      <a:pt x="0" y="691"/>
                    </a:cubicBezTo>
                    <a:lnTo>
                      <a:pt x="26" y="674"/>
                    </a:lnTo>
                    <a:lnTo>
                      <a:pt x="66" y="674"/>
                    </a:lnTo>
                    <a:cubicBezTo>
                      <a:pt x="66" y="674"/>
                      <a:pt x="96" y="665"/>
                      <a:pt x="112" y="654"/>
                    </a:cubicBezTo>
                    <a:cubicBezTo>
                      <a:pt x="128" y="644"/>
                      <a:pt x="154" y="626"/>
                      <a:pt x="159" y="602"/>
                    </a:cubicBezTo>
                    <a:cubicBezTo>
                      <a:pt x="164" y="578"/>
                      <a:pt x="173" y="520"/>
                      <a:pt x="173" y="520"/>
                    </a:cubicBezTo>
                    <a:lnTo>
                      <a:pt x="183" y="473"/>
                    </a:lnTo>
                    <a:lnTo>
                      <a:pt x="173" y="396"/>
                    </a:lnTo>
                    <a:lnTo>
                      <a:pt x="145" y="317"/>
                    </a:lnTo>
                    <a:lnTo>
                      <a:pt x="138" y="277"/>
                    </a:lnTo>
                    <a:lnTo>
                      <a:pt x="147" y="254"/>
                    </a:lnTo>
                    <a:lnTo>
                      <a:pt x="147" y="209"/>
                    </a:lnTo>
                    <a:lnTo>
                      <a:pt x="114" y="125"/>
                    </a:lnTo>
                    <a:lnTo>
                      <a:pt x="149" y="112"/>
                    </a:lnTo>
                    <a:lnTo>
                      <a:pt x="197" y="130"/>
                    </a:lnTo>
                    <a:lnTo>
                      <a:pt x="232" y="160"/>
                    </a:lnTo>
                    <a:lnTo>
                      <a:pt x="251" y="184"/>
                    </a:lnTo>
                    <a:lnTo>
                      <a:pt x="267" y="208"/>
                    </a:lnTo>
                    <a:lnTo>
                      <a:pt x="325" y="218"/>
                    </a:lnTo>
                    <a:cubicBezTo>
                      <a:pt x="325" y="218"/>
                      <a:pt x="336" y="205"/>
                      <a:pt x="365" y="202"/>
                    </a:cubicBezTo>
                    <a:cubicBezTo>
                      <a:pt x="394" y="200"/>
                      <a:pt x="391" y="226"/>
                      <a:pt x="391" y="226"/>
                    </a:cubicBezTo>
                    <a:lnTo>
                      <a:pt x="426" y="218"/>
                    </a:lnTo>
                    <a:lnTo>
                      <a:pt x="450" y="181"/>
                    </a:lnTo>
                    <a:lnTo>
                      <a:pt x="501" y="170"/>
                    </a:lnTo>
                    <a:lnTo>
                      <a:pt x="567" y="152"/>
                    </a:lnTo>
                    <a:lnTo>
                      <a:pt x="602" y="114"/>
                    </a:lnTo>
                    <a:cubicBezTo>
                      <a:pt x="602" y="114"/>
                      <a:pt x="636" y="83"/>
                      <a:pt x="668" y="72"/>
                    </a:cubicBezTo>
                    <a:cubicBezTo>
                      <a:pt x="700" y="61"/>
                      <a:pt x="735" y="83"/>
                      <a:pt x="735" y="83"/>
                    </a:cubicBezTo>
                    <a:lnTo>
                      <a:pt x="798" y="80"/>
                    </a:lnTo>
                    <a:lnTo>
                      <a:pt x="844" y="43"/>
                    </a:lnTo>
                    <a:lnTo>
                      <a:pt x="891" y="35"/>
                    </a:lnTo>
                    <a:cubicBezTo>
                      <a:pt x="891" y="35"/>
                      <a:pt x="926" y="11"/>
                      <a:pt x="955" y="5"/>
                    </a:cubicBezTo>
                    <a:cubicBezTo>
                      <a:pt x="984" y="0"/>
                      <a:pt x="1008" y="35"/>
                      <a:pt x="1008" y="35"/>
                    </a:cubicBezTo>
                    <a:lnTo>
                      <a:pt x="1067" y="27"/>
                    </a:lnTo>
                    <a:lnTo>
                      <a:pt x="1104" y="67"/>
                    </a:lnTo>
                    <a:lnTo>
                      <a:pt x="1155" y="72"/>
                    </a:lnTo>
                    <a:lnTo>
                      <a:pt x="1176" y="51"/>
                    </a:lnTo>
                    <a:lnTo>
                      <a:pt x="1210" y="53"/>
                    </a:lnTo>
                    <a:cubicBezTo>
                      <a:pt x="1210" y="53"/>
                      <a:pt x="1232" y="93"/>
                      <a:pt x="1248" y="109"/>
                    </a:cubicBezTo>
                    <a:cubicBezTo>
                      <a:pt x="1264" y="125"/>
                      <a:pt x="1300" y="121"/>
                      <a:pt x="1300" y="121"/>
                    </a:cubicBezTo>
                    <a:lnTo>
                      <a:pt x="1308" y="157"/>
                    </a:lnTo>
                    <a:lnTo>
                      <a:pt x="1290" y="188"/>
                    </a:lnTo>
                    <a:lnTo>
                      <a:pt x="1273" y="216"/>
                    </a:lnTo>
                    <a:lnTo>
                      <a:pt x="1276" y="257"/>
                    </a:lnTo>
                    <a:lnTo>
                      <a:pt x="1261" y="289"/>
                    </a:lnTo>
                    <a:cubicBezTo>
                      <a:pt x="1261" y="289"/>
                      <a:pt x="1243" y="305"/>
                      <a:pt x="1243" y="314"/>
                    </a:cubicBezTo>
                    <a:cubicBezTo>
                      <a:pt x="1243" y="322"/>
                      <a:pt x="1251" y="338"/>
                      <a:pt x="1251" y="350"/>
                    </a:cubicBezTo>
                    <a:cubicBezTo>
                      <a:pt x="1251" y="363"/>
                      <a:pt x="1244" y="378"/>
                      <a:pt x="1244" y="378"/>
                    </a:cubicBezTo>
                    <a:lnTo>
                      <a:pt x="1227" y="394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181"/>
              <p:cNvSpPr>
                <a:spLocks/>
              </p:cNvSpPr>
              <p:nvPr/>
            </p:nvSpPr>
            <p:spPr bwMode="auto">
              <a:xfrm>
                <a:off x="4820186" y="5538846"/>
                <a:ext cx="199845" cy="117283"/>
              </a:xfrm>
              <a:custGeom>
                <a:avLst/>
                <a:gdLst>
                  <a:gd name="T0" fmla="*/ 2147483647 w 1428"/>
                  <a:gd name="T1" fmla="*/ 2147483647 h 837"/>
                  <a:gd name="T2" fmla="*/ 2147483647 w 1428"/>
                  <a:gd name="T3" fmla="*/ 2147483647 h 837"/>
                  <a:gd name="T4" fmla="*/ 2147483647 w 1428"/>
                  <a:gd name="T5" fmla="*/ 2147483647 h 837"/>
                  <a:gd name="T6" fmla="*/ 2147483647 w 1428"/>
                  <a:gd name="T7" fmla="*/ 2147483647 h 837"/>
                  <a:gd name="T8" fmla="*/ 2147483647 w 1428"/>
                  <a:gd name="T9" fmla="*/ 2147483647 h 837"/>
                  <a:gd name="T10" fmla="*/ 2147483647 w 1428"/>
                  <a:gd name="T11" fmla="*/ 2147483647 h 837"/>
                  <a:gd name="T12" fmla="*/ 2147483647 w 1428"/>
                  <a:gd name="T13" fmla="*/ 2147483647 h 837"/>
                  <a:gd name="T14" fmla="*/ 2147483647 w 1428"/>
                  <a:gd name="T15" fmla="*/ 2147483647 h 837"/>
                  <a:gd name="T16" fmla="*/ 2147483647 w 1428"/>
                  <a:gd name="T17" fmla="*/ 2147483647 h 837"/>
                  <a:gd name="T18" fmla="*/ 2147483647 w 1428"/>
                  <a:gd name="T19" fmla="*/ 2147483647 h 837"/>
                  <a:gd name="T20" fmla="*/ 2147483647 w 1428"/>
                  <a:gd name="T21" fmla="*/ 2147483647 h 837"/>
                  <a:gd name="T22" fmla="*/ 2147483647 w 1428"/>
                  <a:gd name="T23" fmla="*/ 2147483647 h 837"/>
                  <a:gd name="T24" fmla="*/ 2147483647 w 1428"/>
                  <a:gd name="T25" fmla="*/ 2147483647 h 837"/>
                  <a:gd name="T26" fmla="*/ 2147483647 w 1428"/>
                  <a:gd name="T27" fmla="*/ 2147483647 h 837"/>
                  <a:gd name="T28" fmla="*/ 2147483647 w 1428"/>
                  <a:gd name="T29" fmla="*/ 2147483647 h 837"/>
                  <a:gd name="T30" fmla="*/ 2147483647 w 1428"/>
                  <a:gd name="T31" fmla="*/ 2147483647 h 837"/>
                  <a:gd name="T32" fmla="*/ 2147483647 w 1428"/>
                  <a:gd name="T33" fmla="*/ 2147483647 h 837"/>
                  <a:gd name="T34" fmla="*/ 2147483647 w 1428"/>
                  <a:gd name="T35" fmla="*/ 2147483647 h 837"/>
                  <a:gd name="T36" fmla="*/ 2147483647 w 1428"/>
                  <a:gd name="T37" fmla="*/ 2147483647 h 837"/>
                  <a:gd name="T38" fmla="*/ 2147483647 w 1428"/>
                  <a:gd name="T39" fmla="*/ 2147483647 h 837"/>
                  <a:gd name="T40" fmla="*/ 2147483647 w 1428"/>
                  <a:gd name="T41" fmla="*/ 2147483647 h 837"/>
                  <a:gd name="T42" fmla="*/ 2147483647 w 1428"/>
                  <a:gd name="T43" fmla="*/ 2147483647 h 837"/>
                  <a:gd name="T44" fmla="*/ 2147483647 w 1428"/>
                  <a:gd name="T45" fmla="*/ 2147483647 h 837"/>
                  <a:gd name="T46" fmla="*/ 2147483647 w 1428"/>
                  <a:gd name="T47" fmla="*/ 2147483647 h 837"/>
                  <a:gd name="T48" fmla="*/ 2147483647 w 1428"/>
                  <a:gd name="T49" fmla="*/ 2147483647 h 837"/>
                  <a:gd name="T50" fmla="*/ 2147483647 w 1428"/>
                  <a:gd name="T51" fmla="*/ 2147483647 h 837"/>
                  <a:gd name="T52" fmla="*/ 2147483647 w 1428"/>
                  <a:gd name="T53" fmla="*/ 2147483647 h 837"/>
                  <a:gd name="T54" fmla="*/ 2147483647 w 1428"/>
                  <a:gd name="T55" fmla="*/ 2147483647 h 837"/>
                  <a:gd name="T56" fmla="*/ 2147483647 w 1428"/>
                  <a:gd name="T57" fmla="*/ 2147483647 h 837"/>
                  <a:gd name="T58" fmla="*/ 2147483647 w 1428"/>
                  <a:gd name="T59" fmla="*/ 0 h 837"/>
                  <a:gd name="T60" fmla="*/ 2147483647 w 1428"/>
                  <a:gd name="T61" fmla="*/ 2147483647 h 837"/>
                  <a:gd name="T62" fmla="*/ 2147483647 w 1428"/>
                  <a:gd name="T63" fmla="*/ 2147483647 h 837"/>
                  <a:gd name="T64" fmla="*/ 2147483647 w 1428"/>
                  <a:gd name="T65" fmla="*/ 2147483647 h 837"/>
                  <a:gd name="T66" fmla="*/ 2147483647 w 1428"/>
                  <a:gd name="T67" fmla="*/ 2147483647 h 837"/>
                  <a:gd name="T68" fmla="*/ 2147483647 w 1428"/>
                  <a:gd name="T69" fmla="*/ 2147483647 h 837"/>
                  <a:gd name="T70" fmla="*/ 2147483647 w 1428"/>
                  <a:gd name="T71" fmla="*/ 2147483647 h 837"/>
                  <a:gd name="T72" fmla="*/ 2147483647 w 1428"/>
                  <a:gd name="T73" fmla="*/ 2147483647 h 837"/>
                  <a:gd name="T74" fmla="*/ 2147483647 w 1428"/>
                  <a:gd name="T75" fmla="*/ 2147483647 h 837"/>
                  <a:gd name="T76" fmla="*/ 2147483647 w 1428"/>
                  <a:gd name="T77" fmla="*/ 2147483647 h 837"/>
                  <a:gd name="T78" fmla="*/ 2147483647 w 1428"/>
                  <a:gd name="T79" fmla="*/ 2147483647 h 837"/>
                  <a:gd name="T80" fmla="*/ 2147483647 w 1428"/>
                  <a:gd name="T81" fmla="*/ 2147483647 h 837"/>
                  <a:gd name="T82" fmla="*/ 2147483647 w 1428"/>
                  <a:gd name="T83" fmla="*/ 2147483647 h 83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428" h="837">
                    <a:moveTo>
                      <a:pt x="67" y="555"/>
                    </a:moveTo>
                    <a:lnTo>
                      <a:pt x="126" y="560"/>
                    </a:lnTo>
                    <a:lnTo>
                      <a:pt x="162" y="590"/>
                    </a:lnTo>
                    <a:lnTo>
                      <a:pt x="225" y="659"/>
                    </a:lnTo>
                    <a:lnTo>
                      <a:pt x="258" y="643"/>
                    </a:lnTo>
                    <a:lnTo>
                      <a:pt x="305" y="654"/>
                    </a:lnTo>
                    <a:lnTo>
                      <a:pt x="305" y="686"/>
                    </a:lnTo>
                    <a:lnTo>
                      <a:pt x="340" y="686"/>
                    </a:lnTo>
                    <a:lnTo>
                      <a:pt x="376" y="719"/>
                    </a:lnTo>
                    <a:lnTo>
                      <a:pt x="445" y="736"/>
                    </a:lnTo>
                    <a:lnTo>
                      <a:pt x="516" y="783"/>
                    </a:lnTo>
                    <a:lnTo>
                      <a:pt x="576" y="826"/>
                    </a:lnTo>
                    <a:lnTo>
                      <a:pt x="626" y="837"/>
                    </a:lnTo>
                    <a:lnTo>
                      <a:pt x="664" y="810"/>
                    </a:lnTo>
                    <a:lnTo>
                      <a:pt x="700" y="818"/>
                    </a:lnTo>
                    <a:lnTo>
                      <a:pt x="717" y="808"/>
                    </a:lnTo>
                    <a:lnTo>
                      <a:pt x="776" y="814"/>
                    </a:lnTo>
                    <a:lnTo>
                      <a:pt x="804" y="824"/>
                    </a:lnTo>
                    <a:lnTo>
                      <a:pt x="869" y="817"/>
                    </a:lnTo>
                    <a:lnTo>
                      <a:pt x="929" y="775"/>
                    </a:lnTo>
                    <a:lnTo>
                      <a:pt x="967" y="762"/>
                    </a:lnTo>
                    <a:lnTo>
                      <a:pt x="1012" y="751"/>
                    </a:lnTo>
                    <a:lnTo>
                      <a:pt x="1058" y="726"/>
                    </a:lnTo>
                    <a:lnTo>
                      <a:pt x="1086" y="690"/>
                    </a:lnTo>
                    <a:lnTo>
                      <a:pt x="1157" y="691"/>
                    </a:lnTo>
                    <a:lnTo>
                      <a:pt x="1199" y="724"/>
                    </a:lnTo>
                    <a:lnTo>
                      <a:pt x="1226" y="733"/>
                    </a:lnTo>
                    <a:lnTo>
                      <a:pt x="1299" y="734"/>
                    </a:lnTo>
                    <a:lnTo>
                      <a:pt x="1315" y="766"/>
                    </a:lnTo>
                    <a:lnTo>
                      <a:pt x="1350" y="808"/>
                    </a:lnTo>
                    <a:lnTo>
                      <a:pt x="1394" y="834"/>
                    </a:lnTo>
                    <a:lnTo>
                      <a:pt x="1396" y="818"/>
                    </a:lnTo>
                    <a:lnTo>
                      <a:pt x="1404" y="794"/>
                    </a:lnTo>
                    <a:lnTo>
                      <a:pt x="1402" y="768"/>
                    </a:lnTo>
                    <a:lnTo>
                      <a:pt x="1385" y="742"/>
                    </a:lnTo>
                    <a:lnTo>
                      <a:pt x="1393" y="707"/>
                    </a:lnTo>
                    <a:lnTo>
                      <a:pt x="1428" y="677"/>
                    </a:lnTo>
                    <a:lnTo>
                      <a:pt x="1428" y="633"/>
                    </a:lnTo>
                    <a:lnTo>
                      <a:pt x="1406" y="600"/>
                    </a:lnTo>
                    <a:lnTo>
                      <a:pt x="1343" y="583"/>
                    </a:lnTo>
                    <a:lnTo>
                      <a:pt x="1332" y="527"/>
                    </a:lnTo>
                    <a:lnTo>
                      <a:pt x="1287" y="485"/>
                    </a:lnTo>
                    <a:lnTo>
                      <a:pt x="1239" y="427"/>
                    </a:lnTo>
                    <a:lnTo>
                      <a:pt x="1182" y="387"/>
                    </a:lnTo>
                    <a:lnTo>
                      <a:pt x="1180" y="359"/>
                    </a:lnTo>
                    <a:lnTo>
                      <a:pt x="1111" y="346"/>
                    </a:lnTo>
                    <a:lnTo>
                      <a:pt x="1111" y="296"/>
                    </a:lnTo>
                    <a:lnTo>
                      <a:pt x="1089" y="283"/>
                    </a:lnTo>
                    <a:lnTo>
                      <a:pt x="1045" y="261"/>
                    </a:lnTo>
                    <a:lnTo>
                      <a:pt x="985" y="192"/>
                    </a:lnTo>
                    <a:lnTo>
                      <a:pt x="958" y="192"/>
                    </a:lnTo>
                    <a:lnTo>
                      <a:pt x="930" y="155"/>
                    </a:lnTo>
                    <a:lnTo>
                      <a:pt x="915" y="122"/>
                    </a:lnTo>
                    <a:lnTo>
                      <a:pt x="867" y="85"/>
                    </a:lnTo>
                    <a:lnTo>
                      <a:pt x="828" y="81"/>
                    </a:lnTo>
                    <a:lnTo>
                      <a:pt x="817" y="46"/>
                    </a:lnTo>
                    <a:lnTo>
                      <a:pt x="785" y="7"/>
                    </a:lnTo>
                    <a:lnTo>
                      <a:pt x="748" y="18"/>
                    </a:lnTo>
                    <a:lnTo>
                      <a:pt x="702" y="18"/>
                    </a:lnTo>
                    <a:lnTo>
                      <a:pt x="678" y="0"/>
                    </a:lnTo>
                    <a:lnTo>
                      <a:pt x="645" y="18"/>
                    </a:lnTo>
                    <a:lnTo>
                      <a:pt x="613" y="33"/>
                    </a:lnTo>
                    <a:lnTo>
                      <a:pt x="552" y="50"/>
                    </a:lnTo>
                    <a:cubicBezTo>
                      <a:pt x="552" y="50"/>
                      <a:pt x="565" y="107"/>
                      <a:pt x="534" y="146"/>
                    </a:cubicBezTo>
                    <a:cubicBezTo>
                      <a:pt x="504" y="185"/>
                      <a:pt x="458" y="172"/>
                      <a:pt x="458" y="172"/>
                    </a:cubicBezTo>
                    <a:lnTo>
                      <a:pt x="439" y="157"/>
                    </a:lnTo>
                    <a:lnTo>
                      <a:pt x="400" y="153"/>
                    </a:lnTo>
                    <a:lnTo>
                      <a:pt x="387" y="172"/>
                    </a:lnTo>
                    <a:lnTo>
                      <a:pt x="341" y="174"/>
                    </a:lnTo>
                    <a:lnTo>
                      <a:pt x="330" y="148"/>
                    </a:lnTo>
                    <a:lnTo>
                      <a:pt x="293" y="142"/>
                    </a:lnTo>
                    <a:lnTo>
                      <a:pt x="280" y="166"/>
                    </a:lnTo>
                    <a:lnTo>
                      <a:pt x="254" y="166"/>
                    </a:lnTo>
                    <a:lnTo>
                      <a:pt x="256" y="129"/>
                    </a:lnTo>
                    <a:cubicBezTo>
                      <a:pt x="256" y="129"/>
                      <a:pt x="252" y="107"/>
                      <a:pt x="245" y="96"/>
                    </a:cubicBezTo>
                    <a:cubicBezTo>
                      <a:pt x="239" y="85"/>
                      <a:pt x="197" y="81"/>
                      <a:pt x="197" y="81"/>
                    </a:cubicBezTo>
                    <a:lnTo>
                      <a:pt x="189" y="187"/>
                    </a:lnTo>
                    <a:lnTo>
                      <a:pt x="132" y="255"/>
                    </a:lnTo>
                    <a:lnTo>
                      <a:pt x="39" y="318"/>
                    </a:lnTo>
                    <a:lnTo>
                      <a:pt x="8" y="348"/>
                    </a:lnTo>
                    <a:lnTo>
                      <a:pt x="0" y="420"/>
                    </a:lnTo>
                    <a:lnTo>
                      <a:pt x="17" y="461"/>
                    </a:lnTo>
                    <a:lnTo>
                      <a:pt x="56" y="507"/>
                    </a:lnTo>
                    <a:lnTo>
                      <a:pt x="67" y="555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182"/>
              <p:cNvSpPr>
                <a:spLocks/>
              </p:cNvSpPr>
              <p:nvPr/>
            </p:nvSpPr>
            <p:spPr bwMode="auto">
              <a:xfrm>
                <a:off x="4998559" y="5629699"/>
                <a:ext cx="176722" cy="151972"/>
              </a:xfrm>
              <a:custGeom>
                <a:avLst/>
                <a:gdLst>
                  <a:gd name="T0" fmla="*/ 2147483647 w 1260"/>
                  <a:gd name="T1" fmla="*/ 2147483647 h 1087"/>
                  <a:gd name="T2" fmla="*/ 2147483647 w 1260"/>
                  <a:gd name="T3" fmla="*/ 2147483647 h 1087"/>
                  <a:gd name="T4" fmla="*/ 0 w 1260"/>
                  <a:gd name="T5" fmla="*/ 2147483647 h 1087"/>
                  <a:gd name="T6" fmla="*/ 2147483647 w 1260"/>
                  <a:gd name="T7" fmla="*/ 2147483647 h 1087"/>
                  <a:gd name="T8" fmla="*/ 2147483647 w 1260"/>
                  <a:gd name="T9" fmla="*/ 2147483647 h 1087"/>
                  <a:gd name="T10" fmla="*/ 2147483647 w 1260"/>
                  <a:gd name="T11" fmla="*/ 2147483647 h 1087"/>
                  <a:gd name="T12" fmla="*/ 2147483647 w 1260"/>
                  <a:gd name="T13" fmla="*/ 2147483647 h 1087"/>
                  <a:gd name="T14" fmla="*/ 2147483647 w 1260"/>
                  <a:gd name="T15" fmla="*/ 2147483647 h 1087"/>
                  <a:gd name="T16" fmla="*/ 2147483647 w 1260"/>
                  <a:gd name="T17" fmla="*/ 2147483647 h 1087"/>
                  <a:gd name="T18" fmla="*/ 2147483647 w 1260"/>
                  <a:gd name="T19" fmla="*/ 2147483647 h 1087"/>
                  <a:gd name="T20" fmla="*/ 2147483647 w 1260"/>
                  <a:gd name="T21" fmla="*/ 2147483647 h 1087"/>
                  <a:gd name="T22" fmla="*/ 2147483647 w 1260"/>
                  <a:gd name="T23" fmla="*/ 2147483647 h 1087"/>
                  <a:gd name="T24" fmla="*/ 2147483647 w 1260"/>
                  <a:gd name="T25" fmla="*/ 2147483647 h 1087"/>
                  <a:gd name="T26" fmla="*/ 2147483647 w 1260"/>
                  <a:gd name="T27" fmla="*/ 2147483647 h 1087"/>
                  <a:gd name="T28" fmla="*/ 2147483647 w 1260"/>
                  <a:gd name="T29" fmla="*/ 2147483647 h 1087"/>
                  <a:gd name="T30" fmla="*/ 2147483647 w 1260"/>
                  <a:gd name="T31" fmla="*/ 2147483647 h 1087"/>
                  <a:gd name="T32" fmla="*/ 2147483647 w 1260"/>
                  <a:gd name="T33" fmla="*/ 2147483647 h 1087"/>
                  <a:gd name="T34" fmla="*/ 2147483647 w 1260"/>
                  <a:gd name="T35" fmla="*/ 2147483647 h 1087"/>
                  <a:gd name="T36" fmla="*/ 2147483647 w 1260"/>
                  <a:gd name="T37" fmla="*/ 2147483647 h 1087"/>
                  <a:gd name="T38" fmla="*/ 2147483647 w 1260"/>
                  <a:gd name="T39" fmla="*/ 2147483647 h 1087"/>
                  <a:gd name="T40" fmla="*/ 2147483647 w 1260"/>
                  <a:gd name="T41" fmla="*/ 2147483647 h 1087"/>
                  <a:gd name="T42" fmla="*/ 2147483647 w 1260"/>
                  <a:gd name="T43" fmla="*/ 2147483647 h 1087"/>
                  <a:gd name="T44" fmla="*/ 2147483647 w 1260"/>
                  <a:gd name="T45" fmla="*/ 2147483647 h 1087"/>
                  <a:gd name="T46" fmla="*/ 2147483647 w 1260"/>
                  <a:gd name="T47" fmla="*/ 2147483647 h 1087"/>
                  <a:gd name="T48" fmla="*/ 2147483647 w 1260"/>
                  <a:gd name="T49" fmla="*/ 2147483647 h 1087"/>
                  <a:gd name="T50" fmla="*/ 2147483647 w 1260"/>
                  <a:gd name="T51" fmla="*/ 2147483647 h 1087"/>
                  <a:gd name="T52" fmla="*/ 2147483647 w 1260"/>
                  <a:gd name="T53" fmla="*/ 2147483647 h 1087"/>
                  <a:gd name="T54" fmla="*/ 2147483647 w 1260"/>
                  <a:gd name="T55" fmla="*/ 2147483647 h 1087"/>
                  <a:gd name="T56" fmla="*/ 2147483647 w 1260"/>
                  <a:gd name="T57" fmla="*/ 2147483647 h 1087"/>
                  <a:gd name="T58" fmla="*/ 2147483647 w 1260"/>
                  <a:gd name="T59" fmla="*/ 2147483647 h 1087"/>
                  <a:gd name="T60" fmla="*/ 2147483647 w 1260"/>
                  <a:gd name="T61" fmla="*/ 2147483647 h 1087"/>
                  <a:gd name="T62" fmla="*/ 2147483647 w 1260"/>
                  <a:gd name="T63" fmla="*/ 2147483647 h 1087"/>
                  <a:gd name="T64" fmla="*/ 2147483647 w 1260"/>
                  <a:gd name="T65" fmla="*/ 2147483647 h 1087"/>
                  <a:gd name="T66" fmla="*/ 2147483647 w 1260"/>
                  <a:gd name="T67" fmla="*/ 2147483647 h 1087"/>
                  <a:gd name="T68" fmla="*/ 2147483647 w 1260"/>
                  <a:gd name="T69" fmla="*/ 2147483647 h 1087"/>
                  <a:gd name="T70" fmla="*/ 2147483647 w 1260"/>
                  <a:gd name="T71" fmla="*/ 2147483647 h 1087"/>
                  <a:gd name="T72" fmla="*/ 2147483647 w 1260"/>
                  <a:gd name="T73" fmla="*/ 2147483647 h 1087"/>
                  <a:gd name="T74" fmla="*/ 2147483647 w 1260"/>
                  <a:gd name="T75" fmla="*/ 2147483647 h 1087"/>
                  <a:gd name="T76" fmla="*/ 2147483647 w 1260"/>
                  <a:gd name="T77" fmla="*/ 2147483647 h 1087"/>
                  <a:gd name="T78" fmla="*/ 2147483647 w 1260"/>
                  <a:gd name="T79" fmla="*/ 2147483647 h 1087"/>
                  <a:gd name="T80" fmla="*/ 2147483647 w 1260"/>
                  <a:gd name="T81" fmla="*/ 2147483647 h 1087"/>
                  <a:gd name="T82" fmla="*/ 2147483647 w 1260"/>
                  <a:gd name="T83" fmla="*/ 2147483647 h 1087"/>
                  <a:gd name="T84" fmla="*/ 2147483647 w 1260"/>
                  <a:gd name="T85" fmla="*/ 2147483647 h 1087"/>
                  <a:gd name="T86" fmla="*/ 2147483647 w 1260"/>
                  <a:gd name="T87" fmla="*/ 2147483647 h 1087"/>
                  <a:gd name="T88" fmla="*/ 2147483647 w 1260"/>
                  <a:gd name="T89" fmla="*/ 2147483647 h 108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60" h="1087">
                    <a:moveTo>
                      <a:pt x="125" y="203"/>
                    </a:moveTo>
                    <a:lnTo>
                      <a:pt x="105" y="269"/>
                    </a:lnTo>
                    <a:lnTo>
                      <a:pt x="69" y="314"/>
                    </a:lnTo>
                    <a:lnTo>
                      <a:pt x="32" y="320"/>
                    </a:lnTo>
                    <a:lnTo>
                      <a:pt x="8" y="336"/>
                    </a:lnTo>
                    <a:lnTo>
                      <a:pt x="0" y="364"/>
                    </a:lnTo>
                    <a:lnTo>
                      <a:pt x="21" y="372"/>
                    </a:lnTo>
                    <a:lnTo>
                      <a:pt x="44" y="340"/>
                    </a:lnTo>
                    <a:lnTo>
                      <a:pt x="71" y="341"/>
                    </a:lnTo>
                    <a:lnTo>
                      <a:pt x="86" y="355"/>
                    </a:lnTo>
                    <a:lnTo>
                      <a:pt x="124" y="361"/>
                    </a:lnTo>
                    <a:lnTo>
                      <a:pt x="148" y="407"/>
                    </a:lnTo>
                    <a:lnTo>
                      <a:pt x="187" y="421"/>
                    </a:lnTo>
                    <a:lnTo>
                      <a:pt x="219" y="452"/>
                    </a:lnTo>
                    <a:lnTo>
                      <a:pt x="253" y="459"/>
                    </a:lnTo>
                    <a:lnTo>
                      <a:pt x="286" y="477"/>
                    </a:lnTo>
                    <a:cubicBezTo>
                      <a:pt x="286" y="477"/>
                      <a:pt x="284" y="522"/>
                      <a:pt x="289" y="540"/>
                    </a:cubicBezTo>
                    <a:cubicBezTo>
                      <a:pt x="295" y="558"/>
                      <a:pt x="306" y="567"/>
                      <a:pt x="316" y="578"/>
                    </a:cubicBezTo>
                    <a:cubicBezTo>
                      <a:pt x="326" y="589"/>
                      <a:pt x="370" y="618"/>
                      <a:pt x="370" y="618"/>
                    </a:cubicBezTo>
                    <a:lnTo>
                      <a:pt x="401" y="679"/>
                    </a:lnTo>
                    <a:lnTo>
                      <a:pt x="393" y="730"/>
                    </a:lnTo>
                    <a:lnTo>
                      <a:pt x="391" y="786"/>
                    </a:lnTo>
                    <a:lnTo>
                      <a:pt x="398" y="810"/>
                    </a:lnTo>
                    <a:lnTo>
                      <a:pt x="428" y="818"/>
                    </a:lnTo>
                    <a:lnTo>
                      <a:pt x="440" y="804"/>
                    </a:lnTo>
                    <a:lnTo>
                      <a:pt x="465" y="807"/>
                    </a:lnTo>
                    <a:lnTo>
                      <a:pt x="489" y="827"/>
                    </a:lnTo>
                    <a:lnTo>
                      <a:pt x="548" y="827"/>
                    </a:lnTo>
                    <a:lnTo>
                      <a:pt x="569" y="818"/>
                    </a:lnTo>
                    <a:lnTo>
                      <a:pt x="600" y="824"/>
                    </a:lnTo>
                    <a:lnTo>
                      <a:pt x="635" y="835"/>
                    </a:lnTo>
                    <a:lnTo>
                      <a:pt x="700" y="848"/>
                    </a:lnTo>
                    <a:lnTo>
                      <a:pt x="787" y="851"/>
                    </a:lnTo>
                    <a:lnTo>
                      <a:pt x="830" y="866"/>
                    </a:lnTo>
                    <a:lnTo>
                      <a:pt x="879" y="873"/>
                    </a:lnTo>
                    <a:lnTo>
                      <a:pt x="935" y="888"/>
                    </a:lnTo>
                    <a:cubicBezTo>
                      <a:pt x="935" y="888"/>
                      <a:pt x="979" y="918"/>
                      <a:pt x="986" y="933"/>
                    </a:cubicBezTo>
                    <a:cubicBezTo>
                      <a:pt x="993" y="948"/>
                      <a:pt x="1005" y="965"/>
                      <a:pt x="1005" y="965"/>
                    </a:cubicBezTo>
                    <a:lnTo>
                      <a:pt x="1009" y="1014"/>
                    </a:lnTo>
                    <a:lnTo>
                      <a:pt x="1037" y="1034"/>
                    </a:lnTo>
                    <a:lnTo>
                      <a:pt x="1070" y="1058"/>
                    </a:lnTo>
                    <a:lnTo>
                      <a:pt x="1072" y="1087"/>
                    </a:lnTo>
                    <a:lnTo>
                      <a:pt x="1145" y="1087"/>
                    </a:lnTo>
                    <a:cubicBezTo>
                      <a:pt x="1145" y="1087"/>
                      <a:pt x="1183" y="1070"/>
                      <a:pt x="1184" y="1056"/>
                    </a:cubicBezTo>
                    <a:cubicBezTo>
                      <a:pt x="1186" y="1042"/>
                      <a:pt x="1191" y="983"/>
                      <a:pt x="1191" y="983"/>
                    </a:cubicBezTo>
                    <a:cubicBezTo>
                      <a:pt x="1191" y="983"/>
                      <a:pt x="1197" y="948"/>
                      <a:pt x="1204" y="929"/>
                    </a:cubicBezTo>
                    <a:cubicBezTo>
                      <a:pt x="1211" y="909"/>
                      <a:pt x="1229" y="897"/>
                      <a:pt x="1229" y="897"/>
                    </a:cubicBezTo>
                    <a:cubicBezTo>
                      <a:pt x="1229" y="897"/>
                      <a:pt x="1242" y="839"/>
                      <a:pt x="1240" y="830"/>
                    </a:cubicBezTo>
                    <a:cubicBezTo>
                      <a:pt x="1239" y="820"/>
                      <a:pt x="1222" y="789"/>
                      <a:pt x="1222" y="789"/>
                    </a:cubicBezTo>
                    <a:cubicBezTo>
                      <a:pt x="1222" y="789"/>
                      <a:pt x="1216" y="769"/>
                      <a:pt x="1222" y="760"/>
                    </a:cubicBezTo>
                    <a:cubicBezTo>
                      <a:pt x="1228" y="750"/>
                      <a:pt x="1258" y="729"/>
                      <a:pt x="1258" y="729"/>
                    </a:cubicBezTo>
                    <a:lnTo>
                      <a:pt x="1260" y="650"/>
                    </a:lnTo>
                    <a:lnTo>
                      <a:pt x="1204" y="598"/>
                    </a:lnTo>
                    <a:lnTo>
                      <a:pt x="1156" y="550"/>
                    </a:lnTo>
                    <a:lnTo>
                      <a:pt x="1102" y="546"/>
                    </a:lnTo>
                    <a:lnTo>
                      <a:pt x="1073" y="518"/>
                    </a:lnTo>
                    <a:lnTo>
                      <a:pt x="1045" y="505"/>
                    </a:lnTo>
                    <a:lnTo>
                      <a:pt x="1021" y="522"/>
                    </a:lnTo>
                    <a:lnTo>
                      <a:pt x="989" y="518"/>
                    </a:lnTo>
                    <a:lnTo>
                      <a:pt x="949" y="472"/>
                    </a:lnTo>
                    <a:lnTo>
                      <a:pt x="908" y="461"/>
                    </a:lnTo>
                    <a:lnTo>
                      <a:pt x="871" y="387"/>
                    </a:lnTo>
                    <a:lnTo>
                      <a:pt x="839" y="387"/>
                    </a:lnTo>
                    <a:lnTo>
                      <a:pt x="832" y="416"/>
                    </a:lnTo>
                    <a:lnTo>
                      <a:pt x="791" y="418"/>
                    </a:lnTo>
                    <a:lnTo>
                      <a:pt x="743" y="379"/>
                    </a:lnTo>
                    <a:lnTo>
                      <a:pt x="719" y="385"/>
                    </a:lnTo>
                    <a:lnTo>
                      <a:pt x="695" y="357"/>
                    </a:lnTo>
                    <a:lnTo>
                      <a:pt x="688" y="318"/>
                    </a:lnTo>
                    <a:lnTo>
                      <a:pt x="671" y="279"/>
                    </a:lnTo>
                    <a:lnTo>
                      <a:pt x="619" y="268"/>
                    </a:lnTo>
                    <a:lnTo>
                      <a:pt x="630" y="239"/>
                    </a:lnTo>
                    <a:lnTo>
                      <a:pt x="625" y="207"/>
                    </a:lnTo>
                    <a:lnTo>
                      <a:pt x="599" y="179"/>
                    </a:lnTo>
                    <a:lnTo>
                      <a:pt x="595" y="153"/>
                    </a:lnTo>
                    <a:lnTo>
                      <a:pt x="554" y="150"/>
                    </a:lnTo>
                    <a:lnTo>
                      <a:pt x="565" y="122"/>
                    </a:lnTo>
                    <a:lnTo>
                      <a:pt x="547" y="96"/>
                    </a:lnTo>
                    <a:lnTo>
                      <a:pt x="508" y="83"/>
                    </a:lnTo>
                    <a:lnTo>
                      <a:pt x="471" y="55"/>
                    </a:lnTo>
                    <a:cubicBezTo>
                      <a:pt x="471" y="55"/>
                      <a:pt x="462" y="29"/>
                      <a:pt x="447" y="0"/>
                    </a:cubicBezTo>
                    <a:lnTo>
                      <a:pt x="397" y="11"/>
                    </a:lnTo>
                    <a:lnTo>
                      <a:pt x="384" y="44"/>
                    </a:lnTo>
                    <a:lnTo>
                      <a:pt x="395" y="76"/>
                    </a:lnTo>
                    <a:lnTo>
                      <a:pt x="384" y="96"/>
                    </a:lnTo>
                    <a:lnTo>
                      <a:pt x="341" y="105"/>
                    </a:lnTo>
                    <a:lnTo>
                      <a:pt x="323" y="129"/>
                    </a:lnTo>
                    <a:lnTo>
                      <a:pt x="275" y="174"/>
                    </a:lnTo>
                    <a:lnTo>
                      <a:pt x="221" y="207"/>
                    </a:lnTo>
                    <a:lnTo>
                      <a:pt x="125" y="203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183"/>
              <p:cNvSpPr>
                <a:spLocks/>
              </p:cNvSpPr>
              <p:nvPr/>
            </p:nvSpPr>
            <p:spPr bwMode="auto">
              <a:xfrm>
                <a:off x="4803670" y="5616484"/>
                <a:ext cx="213057" cy="137105"/>
              </a:xfrm>
              <a:custGeom>
                <a:avLst/>
                <a:gdLst>
                  <a:gd name="T0" fmla="*/ 2147483647 w 1511"/>
                  <a:gd name="T1" fmla="*/ 2147483647 h 977"/>
                  <a:gd name="T2" fmla="*/ 2147483647 w 1511"/>
                  <a:gd name="T3" fmla="*/ 2147483647 h 977"/>
                  <a:gd name="T4" fmla="*/ 2147483647 w 1511"/>
                  <a:gd name="T5" fmla="*/ 2147483647 h 977"/>
                  <a:gd name="T6" fmla="*/ 2147483647 w 1511"/>
                  <a:gd name="T7" fmla="*/ 2147483647 h 977"/>
                  <a:gd name="T8" fmla="*/ 2147483647 w 1511"/>
                  <a:gd name="T9" fmla="*/ 2147483647 h 977"/>
                  <a:gd name="T10" fmla="*/ 2147483647 w 1511"/>
                  <a:gd name="T11" fmla="*/ 2147483647 h 977"/>
                  <a:gd name="T12" fmla="*/ 2147483647 w 1511"/>
                  <a:gd name="T13" fmla="*/ 2147483647 h 977"/>
                  <a:gd name="T14" fmla="*/ 2147483647 w 1511"/>
                  <a:gd name="T15" fmla="*/ 2147483647 h 977"/>
                  <a:gd name="T16" fmla="*/ 2147483647 w 1511"/>
                  <a:gd name="T17" fmla="*/ 2147483647 h 977"/>
                  <a:gd name="T18" fmla="*/ 2147483647 w 1511"/>
                  <a:gd name="T19" fmla="*/ 2147483647 h 977"/>
                  <a:gd name="T20" fmla="*/ 2147483647 w 1511"/>
                  <a:gd name="T21" fmla="*/ 2147483647 h 977"/>
                  <a:gd name="T22" fmla="*/ 2147483647 w 1511"/>
                  <a:gd name="T23" fmla="*/ 2147483647 h 977"/>
                  <a:gd name="T24" fmla="*/ 2147483647 w 1511"/>
                  <a:gd name="T25" fmla="*/ 2147483647 h 977"/>
                  <a:gd name="T26" fmla="*/ 2147483647 w 1511"/>
                  <a:gd name="T27" fmla="*/ 2147483647 h 977"/>
                  <a:gd name="T28" fmla="*/ 2147483647 w 1511"/>
                  <a:gd name="T29" fmla="*/ 2147483647 h 977"/>
                  <a:gd name="T30" fmla="*/ 2147483647 w 1511"/>
                  <a:gd name="T31" fmla="*/ 2147483647 h 977"/>
                  <a:gd name="T32" fmla="*/ 2147483647 w 1511"/>
                  <a:gd name="T33" fmla="*/ 2147483647 h 977"/>
                  <a:gd name="T34" fmla="*/ 2147483647 w 1511"/>
                  <a:gd name="T35" fmla="*/ 2147483647 h 977"/>
                  <a:gd name="T36" fmla="*/ 2147483647 w 1511"/>
                  <a:gd name="T37" fmla="*/ 2147483647 h 977"/>
                  <a:gd name="T38" fmla="*/ 2147483647 w 1511"/>
                  <a:gd name="T39" fmla="*/ 2147483647 h 977"/>
                  <a:gd name="T40" fmla="*/ 0 w 1511"/>
                  <a:gd name="T41" fmla="*/ 2147483647 h 977"/>
                  <a:gd name="T42" fmla="*/ 2147483647 w 1511"/>
                  <a:gd name="T43" fmla="*/ 2147483647 h 977"/>
                  <a:gd name="T44" fmla="*/ 2147483647 w 1511"/>
                  <a:gd name="T45" fmla="*/ 2147483647 h 977"/>
                  <a:gd name="T46" fmla="*/ 2147483647 w 1511"/>
                  <a:gd name="T47" fmla="*/ 2147483647 h 977"/>
                  <a:gd name="T48" fmla="*/ 2147483647 w 1511"/>
                  <a:gd name="T49" fmla="*/ 2147483647 h 977"/>
                  <a:gd name="T50" fmla="*/ 2147483647 w 1511"/>
                  <a:gd name="T51" fmla="*/ 2147483647 h 977"/>
                  <a:gd name="T52" fmla="*/ 2147483647 w 1511"/>
                  <a:gd name="T53" fmla="*/ 2147483647 h 977"/>
                  <a:gd name="T54" fmla="*/ 2147483647 w 1511"/>
                  <a:gd name="T55" fmla="*/ 0 h 977"/>
                  <a:gd name="T56" fmla="*/ 2147483647 w 1511"/>
                  <a:gd name="T57" fmla="*/ 2147483647 h 977"/>
                  <a:gd name="T58" fmla="*/ 2147483647 w 1511"/>
                  <a:gd name="T59" fmla="*/ 2147483647 h 977"/>
                  <a:gd name="T60" fmla="*/ 2147483647 w 1511"/>
                  <a:gd name="T61" fmla="*/ 2147483647 h 977"/>
                  <a:gd name="T62" fmla="*/ 2147483647 w 1511"/>
                  <a:gd name="T63" fmla="*/ 2147483647 h 977"/>
                  <a:gd name="T64" fmla="*/ 2147483647 w 1511"/>
                  <a:gd name="T65" fmla="*/ 2147483647 h 977"/>
                  <a:gd name="T66" fmla="*/ 2147483647 w 1511"/>
                  <a:gd name="T67" fmla="*/ 2147483647 h 977"/>
                  <a:gd name="T68" fmla="*/ 2147483647 w 1511"/>
                  <a:gd name="T69" fmla="*/ 2147483647 h 977"/>
                  <a:gd name="T70" fmla="*/ 2147483647 w 1511"/>
                  <a:gd name="T71" fmla="*/ 2147483647 h 977"/>
                  <a:gd name="T72" fmla="*/ 2147483647 w 1511"/>
                  <a:gd name="T73" fmla="*/ 2147483647 h 977"/>
                  <a:gd name="T74" fmla="*/ 2147483647 w 1511"/>
                  <a:gd name="T75" fmla="*/ 2147483647 h 977"/>
                  <a:gd name="T76" fmla="*/ 2147483647 w 1511"/>
                  <a:gd name="T77" fmla="*/ 2147483647 h 977"/>
                  <a:gd name="T78" fmla="*/ 2147483647 w 1511"/>
                  <a:gd name="T79" fmla="*/ 2147483647 h 977"/>
                  <a:gd name="T80" fmla="*/ 2147483647 w 1511"/>
                  <a:gd name="T81" fmla="*/ 2147483647 h 977"/>
                  <a:gd name="T82" fmla="*/ 2147483647 w 1511"/>
                  <a:gd name="T83" fmla="*/ 2147483647 h 977"/>
                  <a:gd name="T84" fmla="*/ 2147483647 w 1511"/>
                  <a:gd name="T85" fmla="*/ 2147483647 h 977"/>
                  <a:gd name="T86" fmla="*/ 2147483647 w 1511"/>
                  <a:gd name="T87" fmla="*/ 2147483647 h 977"/>
                  <a:gd name="T88" fmla="*/ 2147483647 w 1511"/>
                  <a:gd name="T89" fmla="*/ 2147483647 h 977"/>
                  <a:gd name="T90" fmla="*/ 2147483647 w 1511"/>
                  <a:gd name="T91" fmla="*/ 2147483647 h 97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511" h="977">
                    <a:moveTo>
                      <a:pt x="1406" y="465"/>
                    </a:moveTo>
                    <a:lnTo>
                      <a:pt x="1412" y="484"/>
                    </a:lnTo>
                    <a:lnTo>
                      <a:pt x="1401" y="503"/>
                    </a:lnTo>
                    <a:lnTo>
                      <a:pt x="1391" y="545"/>
                    </a:lnTo>
                    <a:lnTo>
                      <a:pt x="1384" y="573"/>
                    </a:lnTo>
                    <a:lnTo>
                      <a:pt x="1360" y="599"/>
                    </a:lnTo>
                    <a:lnTo>
                      <a:pt x="1327" y="605"/>
                    </a:lnTo>
                    <a:cubicBezTo>
                      <a:pt x="1327" y="605"/>
                      <a:pt x="1314" y="631"/>
                      <a:pt x="1311" y="640"/>
                    </a:cubicBezTo>
                    <a:cubicBezTo>
                      <a:pt x="1309" y="648"/>
                      <a:pt x="1274" y="659"/>
                      <a:pt x="1272" y="673"/>
                    </a:cubicBezTo>
                    <a:cubicBezTo>
                      <a:pt x="1271" y="687"/>
                      <a:pt x="1269" y="715"/>
                      <a:pt x="1265" y="726"/>
                    </a:cubicBezTo>
                    <a:cubicBezTo>
                      <a:pt x="1261" y="738"/>
                      <a:pt x="1258" y="752"/>
                      <a:pt x="1260" y="760"/>
                    </a:cubicBezTo>
                    <a:cubicBezTo>
                      <a:pt x="1261" y="768"/>
                      <a:pt x="1278" y="787"/>
                      <a:pt x="1278" y="787"/>
                    </a:cubicBezTo>
                    <a:lnTo>
                      <a:pt x="1285" y="861"/>
                    </a:lnTo>
                    <a:lnTo>
                      <a:pt x="1240" y="861"/>
                    </a:lnTo>
                    <a:lnTo>
                      <a:pt x="1223" y="901"/>
                    </a:lnTo>
                    <a:lnTo>
                      <a:pt x="1204" y="931"/>
                    </a:lnTo>
                    <a:cubicBezTo>
                      <a:pt x="1204" y="931"/>
                      <a:pt x="1197" y="954"/>
                      <a:pt x="1192" y="964"/>
                    </a:cubicBezTo>
                    <a:cubicBezTo>
                      <a:pt x="1188" y="974"/>
                      <a:pt x="1178" y="977"/>
                      <a:pt x="1163" y="970"/>
                    </a:cubicBezTo>
                    <a:cubicBezTo>
                      <a:pt x="1148" y="963"/>
                      <a:pt x="1122" y="961"/>
                      <a:pt x="1114" y="956"/>
                    </a:cubicBezTo>
                    <a:cubicBezTo>
                      <a:pt x="1106" y="950"/>
                      <a:pt x="1086" y="935"/>
                      <a:pt x="1086" y="935"/>
                    </a:cubicBezTo>
                    <a:cubicBezTo>
                      <a:pt x="1086" y="935"/>
                      <a:pt x="1039" y="940"/>
                      <a:pt x="1016" y="925"/>
                    </a:cubicBezTo>
                    <a:cubicBezTo>
                      <a:pt x="994" y="910"/>
                      <a:pt x="964" y="896"/>
                      <a:pt x="948" y="893"/>
                    </a:cubicBezTo>
                    <a:cubicBezTo>
                      <a:pt x="931" y="890"/>
                      <a:pt x="883" y="896"/>
                      <a:pt x="883" y="896"/>
                    </a:cubicBezTo>
                    <a:cubicBezTo>
                      <a:pt x="883" y="896"/>
                      <a:pt x="861" y="912"/>
                      <a:pt x="846" y="910"/>
                    </a:cubicBezTo>
                    <a:cubicBezTo>
                      <a:pt x="830" y="907"/>
                      <a:pt x="819" y="889"/>
                      <a:pt x="805" y="889"/>
                    </a:cubicBezTo>
                    <a:cubicBezTo>
                      <a:pt x="791" y="889"/>
                      <a:pt x="757" y="891"/>
                      <a:pt x="757" y="891"/>
                    </a:cubicBezTo>
                    <a:lnTo>
                      <a:pt x="718" y="896"/>
                    </a:lnTo>
                    <a:cubicBezTo>
                      <a:pt x="718" y="896"/>
                      <a:pt x="661" y="893"/>
                      <a:pt x="646" y="886"/>
                    </a:cubicBezTo>
                    <a:cubicBezTo>
                      <a:pt x="630" y="879"/>
                      <a:pt x="601" y="859"/>
                      <a:pt x="601" y="859"/>
                    </a:cubicBezTo>
                    <a:lnTo>
                      <a:pt x="555" y="834"/>
                    </a:lnTo>
                    <a:lnTo>
                      <a:pt x="507" y="796"/>
                    </a:lnTo>
                    <a:lnTo>
                      <a:pt x="408" y="780"/>
                    </a:lnTo>
                    <a:cubicBezTo>
                      <a:pt x="408" y="780"/>
                      <a:pt x="341" y="725"/>
                      <a:pt x="323" y="719"/>
                    </a:cubicBezTo>
                    <a:cubicBezTo>
                      <a:pt x="304" y="714"/>
                      <a:pt x="289" y="736"/>
                      <a:pt x="264" y="725"/>
                    </a:cubicBezTo>
                    <a:cubicBezTo>
                      <a:pt x="239" y="714"/>
                      <a:pt x="226" y="698"/>
                      <a:pt x="225" y="689"/>
                    </a:cubicBezTo>
                    <a:cubicBezTo>
                      <a:pt x="223" y="679"/>
                      <a:pt x="219" y="638"/>
                      <a:pt x="190" y="634"/>
                    </a:cubicBezTo>
                    <a:cubicBezTo>
                      <a:pt x="160" y="630"/>
                      <a:pt x="121" y="620"/>
                      <a:pt x="111" y="629"/>
                    </a:cubicBezTo>
                    <a:cubicBezTo>
                      <a:pt x="102" y="637"/>
                      <a:pt x="116" y="668"/>
                      <a:pt x="106" y="668"/>
                    </a:cubicBezTo>
                    <a:cubicBezTo>
                      <a:pt x="96" y="668"/>
                      <a:pt x="81" y="647"/>
                      <a:pt x="64" y="648"/>
                    </a:cubicBezTo>
                    <a:cubicBezTo>
                      <a:pt x="55" y="649"/>
                      <a:pt x="36" y="662"/>
                      <a:pt x="19" y="674"/>
                    </a:cubicBezTo>
                    <a:lnTo>
                      <a:pt x="10" y="666"/>
                    </a:lnTo>
                    <a:cubicBezTo>
                      <a:pt x="10" y="666"/>
                      <a:pt x="0" y="657"/>
                      <a:pt x="0" y="632"/>
                    </a:cubicBezTo>
                    <a:cubicBezTo>
                      <a:pt x="0" y="608"/>
                      <a:pt x="19" y="590"/>
                      <a:pt x="19" y="590"/>
                    </a:cubicBezTo>
                    <a:lnTo>
                      <a:pt x="47" y="569"/>
                    </a:lnTo>
                    <a:lnTo>
                      <a:pt x="54" y="496"/>
                    </a:lnTo>
                    <a:lnTo>
                      <a:pt x="105" y="445"/>
                    </a:lnTo>
                    <a:lnTo>
                      <a:pt x="105" y="342"/>
                    </a:lnTo>
                    <a:lnTo>
                      <a:pt x="126" y="293"/>
                    </a:lnTo>
                    <a:lnTo>
                      <a:pt x="131" y="215"/>
                    </a:lnTo>
                    <a:lnTo>
                      <a:pt x="114" y="180"/>
                    </a:lnTo>
                    <a:lnTo>
                      <a:pt x="114" y="146"/>
                    </a:lnTo>
                    <a:lnTo>
                      <a:pt x="156" y="138"/>
                    </a:lnTo>
                    <a:lnTo>
                      <a:pt x="189" y="131"/>
                    </a:lnTo>
                    <a:cubicBezTo>
                      <a:pt x="189" y="131"/>
                      <a:pt x="190" y="90"/>
                      <a:pt x="190" y="66"/>
                    </a:cubicBezTo>
                    <a:cubicBezTo>
                      <a:pt x="190" y="42"/>
                      <a:pt x="184" y="0"/>
                      <a:pt x="184" y="0"/>
                    </a:cubicBezTo>
                    <a:lnTo>
                      <a:pt x="243" y="5"/>
                    </a:lnTo>
                    <a:lnTo>
                      <a:pt x="279" y="35"/>
                    </a:lnTo>
                    <a:lnTo>
                      <a:pt x="342" y="104"/>
                    </a:lnTo>
                    <a:lnTo>
                      <a:pt x="375" y="88"/>
                    </a:lnTo>
                    <a:lnTo>
                      <a:pt x="422" y="99"/>
                    </a:lnTo>
                    <a:lnTo>
                      <a:pt x="422" y="131"/>
                    </a:lnTo>
                    <a:lnTo>
                      <a:pt x="457" y="131"/>
                    </a:lnTo>
                    <a:lnTo>
                      <a:pt x="493" y="164"/>
                    </a:lnTo>
                    <a:lnTo>
                      <a:pt x="562" y="181"/>
                    </a:lnTo>
                    <a:lnTo>
                      <a:pt x="633" y="228"/>
                    </a:lnTo>
                    <a:lnTo>
                      <a:pt x="693" y="271"/>
                    </a:lnTo>
                    <a:lnTo>
                      <a:pt x="743" y="282"/>
                    </a:lnTo>
                    <a:lnTo>
                      <a:pt x="781" y="255"/>
                    </a:lnTo>
                    <a:lnTo>
                      <a:pt x="817" y="263"/>
                    </a:lnTo>
                    <a:lnTo>
                      <a:pt x="834" y="253"/>
                    </a:lnTo>
                    <a:lnTo>
                      <a:pt x="893" y="259"/>
                    </a:lnTo>
                    <a:lnTo>
                      <a:pt x="921" y="269"/>
                    </a:lnTo>
                    <a:lnTo>
                      <a:pt x="986" y="262"/>
                    </a:lnTo>
                    <a:lnTo>
                      <a:pt x="1046" y="220"/>
                    </a:lnTo>
                    <a:lnTo>
                      <a:pt x="1084" y="207"/>
                    </a:lnTo>
                    <a:lnTo>
                      <a:pt x="1129" y="196"/>
                    </a:lnTo>
                    <a:lnTo>
                      <a:pt x="1175" y="171"/>
                    </a:lnTo>
                    <a:lnTo>
                      <a:pt x="1203" y="135"/>
                    </a:lnTo>
                    <a:lnTo>
                      <a:pt x="1274" y="136"/>
                    </a:lnTo>
                    <a:lnTo>
                      <a:pt x="1316" y="169"/>
                    </a:lnTo>
                    <a:lnTo>
                      <a:pt x="1343" y="178"/>
                    </a:lnTo>
                    <a:lnTo>
                      <a:pt x="1416" y="179"/>
                    </a:lnTo>
                    <a:lnTo>
                      <a:pt x="1432" y="211"/>
                    </a:lnTo>
                    <a:lnTo>
                      <a:pt x="1467" y="253"/>
                    </a:lnTo>
                    <a:lnTo>
                      <a:pt x="1511" y="279"/>
                    </a:lnTo>
                    <a:lnTo>
                      <a:pt x="1510" y="296"/>
                    </a:lnTo>
                    <a:lnTo>
                      <a:pt x="1490" y="362"/>
                    </a:lnTo>
                    <a:lnTo>
                      <a:pt x="1454" y="407"/>
                    </a:lnTo>
                    <a:lnTo>
                      <a:pt x="1417" y="413"/>
                    </a:lnTo>
                    <a:lnTo>
                      <a:pt x="1393" y="429"/>
                    </a:lnTo>
                    <a:lnTo>
                      <a:pt x="1385" y="457"/>
                    </a:lnTo>
                    <a:lnTo>
                      <a:pt x="1406" y="465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184"/>
              <p:cNvSpPr>
                <a:spLocks/>
              </p:cNvSpPr>
              <p:nvPr/>
            </p:nvSpPr>
            <p:spPr bwMode="auto">
              <a:xfrm>
                <a:off x="4950663" y="5677603"/>
                <a:ext cx="198193" cy="189965"/>
              </a:xfrm>
              <a:custGeom>
                <a:avLst/>
                <a:gdLst>
                  <a:gd name="T0" fmla="*/ 2147483647 w 1416"/>
                  <a:gd name="T1" fmla="*/ 2147483647 h 1360"/>
                  <a:gd name="T2" fmla="*/ 2147483647 w 1416"/>
                  <a:gd name="T3" fmla="*/ 2147483647 h 1360"/>
                  <a:gd name="T4" fmla="*/ 2147483647 w 1416"/>
                  <a:gd name="T5" fmla="*/ 2147483647 h 1360"/>
                  <a:gd name="T6" fmla="*/ 2147483647 w 1416"/>
                  <a:gd name="T7" fmla="*/ 2147483647 h 1360"/>
                  <a:gd name="T8" fmla="*/ 2147483647 w 1416"/>
                  <a:gd name="T9" fmla="*/ 2147483647 h 1360"/>
                  <a:gd name="T10" fmla="*/ 2147483647 w 1416"/>
                  <a:gd name="T11" fmla="*/ 2147483647 h 1360"/>
                  <a:gd name="T12" fmla="*/ 2147483647 w 1416"/>
                  <a:gd name="T13" fmla="*/ 2147483647 h 1360"/>
                  <a:gd name="T14" fmla="*/ 2147483647 w 1416"/>
                  <a:gd name="T15" fmla="*/ 2147483647 h 1360"/>
                  <a:gd name="T16" fmla="*/ 2147483647 w 1416"/>
                  <a:gd name="T17" fmla="*/ 2147483647 h 1360"/>
                  <a:gd name="T18" fmla="*/ 2147483647 w 1416"/>
                  <a:gd name="T19" fmla="*/ 2147483647 h 1360"/>
                  <a:gd name="T20" fmla="*/ 2147483647 w 1416"/>
                  <a:gd name="T21" fmla="*/ 2147483647 h 1360"/>
                  <a:gd name="T22" fmla="*/ 2147483647 w 1416"/>
                  <a:gd name="T23" fmla="*/ 2147483647 h 1360"/>
                  <a:gd name="T24" fmla="*/ 2147483647 w 1416"/>
                  <a:gd name="T25" fmla="*/ 2147483647 h 1360"/>
                  <a:gd name="T26" fmla="*/ 2147483647 w 1416"/>
                  <a:gd name="T27" fmla="*/ 2147483647 h 1360"/>
                  <a:gd name="T28" fmla="*/ 2147483647 w 1416"/>
                  <a:gd name="T29" fmla="*/ 2147483647 h 1360"/>
                  <a:gd name="T30" fmla="*/ 2147483647 w 1416"/>
                  <a:gd name="T31" fmla="*/ 2147483647 h 1360"/>
                  <a:gd name="T32" fmla="*/ 2147483647 w 1416"/>
                  <a:gd name="T33" fmla="*/ 2147483647 h 1360"/>
                  <a:gd name="T34" fmla="*/ 2147483647 w 1416"/>
                  <a:gd name="T35" fmla="*/ 2147483647 h 1360"/>
                  <a:gd name="T36" fmla="*/ 2147483647 w 1416"/>
                  <a:gd name="T37" fmla="*/ 2147483647 h 1360"/>
                  <a:gd name="T38" fmla="*/ 0 w 1416"/>
                  <a:gd name="T39" fmla="*/ 2147483647 h 1360"/>
                  <a:gd name="T40" fmla="*/ 2147483647 w 1416"/>
                  <a:gd name="T41" fmla="*/ 2147483647 h 1360"/>
                  <a:gd name="T42" fmla="*/ 2147483647 w 1416"/>
                  <a:gd name="T43" fmla="*/ 2147483647 h 1360"/>
                  <a:gd name="T44" fmla="*/ 2147483647 w 1416"/>
                  <a:gd name="T45" fmla="*/ 2147483647 h 1360"/>
                  <a:gd name="T46" fmla="*/ 2147483647 w 1416"/>
                  <a:gd name="T47" fmla="*/ 2147483647 h 1360"/>
                  <a:gd name="T48" fmla="*/ 2147483647 w 1416"/>
                  <a:gd name="T49" fmla="*/ 2147483647 h 1360"/>
                  <a:gd name="T50" fmla="*/ 2147483647 w 1416"/>
                  <a:gd name="T51" fmla="*/ 2147483647 h 1360"/>
                  <a:gd name="T52" fmla="*/ 2147483647 w 1416"/>
                  <a:gd name="T53" fmla="*/ 2147483647 h 1360"/>
                  <a:gd name="T54" fmla="*/ 2147483647 w 1416"/>
                  <a:gd name="T55" fmla="*/ 2147483647 h 1360"/>
                  <a:gd name="T56" fmla="*/ 2147483647 w 1416"/>
                  <a:gd name="T57" fmla="*/ 2147483647 h 1360"/>
                  <a:gd name="T58" fmla="*/ 2147483647 w 1416"/>
                  <a:gd name="T59" fmla="*/ 2147483647 h 1360"/>
                  <a:gd name="T60" fmla="*/ 2147483647 w 1416"/>
                  <a:gd name="T61" fmla="*/ 2147483647 h 1360"/>
                  <a:gd name="T62" fmla="*/ 2147483647 w 1416"/>
                  <a:gd name="T63" fmla="*/ 2147483647 h 1360"/>
                  <a:gd name="T64" fmla="*/ 2147483647 w 1416"/>
                  <a:gd name="T65" fmla="*/ 2147483647 h 1360"/>
                  <a:gd name="T66" fmla="*/ 2147483647 w 1416"/>
                  <a:gd name="T67" fmla="*/ 2147483647 h 1360"/>
                  <a:gd name="T68" fmla="*/ 2147483647 w 1416"/>
                  <a:gd name="T69" fmla="*/ 2147483647 h 1360"/>
                  <a:gd name="T70" fmla="*/ 2147483647 w 1416"/>
                  <a:gd name="T71" fmla="*/ 2147483647 h 1360"/>
                  <a:gd name="T72" fmla="*/ 2147483647 w 1416"/>
                  <a:gd name="T73" fmla="*/ 2147483647 h 1360"/>
                  <a:gd name="T74" fmla="*/ 2147483647 w 1416"/>
                  <a:gd name="T75" fmla="*/ 2147483647 h 1360"/>
                  <a:gd name="T76" fmla="*/ 2147483647 w 1416"/>
                  <a:gd name="T77" fmla="*/ 0 h 1360"/>
                  <a:gd name="T78" fmla="*/ 2147483647 w 1416"/>
                  <a:gd name="T79" fmla="*/ 2147483647 h 1360"/>
                  <a:gd name="T80" fmla="*/ 2147483647 w 1416"/>
                  <a:gd name="T81" fmla="*/ 2147483647 h 1360"/>
                  <a:gd name="T82" fmla="*/ 2147483647 w 1416"/>
                  <a:gd name="T83" fmla="*/ 2147483647 h 1360"/>
                  <a:gd name="T84" fmla="*/ 2147483647 w 1416"/>
                  <a:gd name="T85" fmla="*/ 2147483647 h 1360"/>
                  <a:gd name="T86" fmla="*/ 2147483647 w 1416"/>
                  <a:gd name="T87" fmla="*/ 2147483647 h 1360"/>
                  <a:gd name="T88" fmla="*/ 2147483647 w 1416"/>
                  <a:gd name="T89" fmla="*/ 2147483647 h 1360"/>
                  <a:gd name="T90" fmla="*/ 2147483647 w 1416"/>
                  <a:gd name="T91" fmla="*/ 2147483647 h 1360"/>
                  <a:gd name="T92" fmla="*/ 2147483647 w 1416"/>
                  <a:gd name="T93" fmla="*/ 2147483647 h 1360"/>
                  <a:gd name="T94" fmla="*/ 2147483647 w 1416"/>
                  <a:gd name="T95" fmla="*/ 2147483647 h 1360"/>
                  <a:gd name="T96" fmla="*/ 2147483647 w 1416"/>
                  <a:gd name="T97" fmla="*/ 2147483647 h 1360"/>
                  <a:gd name="T98" fmla="*/ 2147483647 w 1416"/>
                  <a:gd name="T99" fmla="*/ 2147483647 h 1360"/>
                  <a:gd name="T100" fmla="*/ 2147483647 w 1416"/>
                  <a:gd name="T101" fmla="*/ 2147483647 h 1360"/>
                  <a:gd name="T102" fmla="*/ 2147483647 w 1416"/>
                  <a:gd name="T103" fmla="*/ 2147483647 h 1360"/>
                  <a:gd name="T104" fmla="*/ 2147483647 w 1416"/>
                  <a:gd name="T105" fmla="*/ 2147483647 h 1360"/>
                  <a:gd name="T106" fmla="*/ 2147483647 w 1416"/>
                  <a:gd name="T107" fmla="*/ 2147483647 h 1360"/>
                  <a:gd name="T108" fmla="*/ 2147483647 w 1416"/>
                  <a:gd name="T109" fmla="*/ 2147483647 h 136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416" h="1360">
                    <a:moveTo>
                      <a:pt x="1416" y="732"/>
                    </a:moveTo>
                    <a:cubicBezTo>
                      <a:pt x="1416" y="732"/>
                      <a:pt x="1391" y="715"/>
                      <a:pt x="1377" y="733"/>
                    </a:cubicBezTo>
                    <a:cubicBezTo>
                      <a:pt x="1362" y="750"/>
                      <a:pt x="1365" y="788"/>
                      <a:pt x="1365" y="788"/>
                    </a:cubicBezTo>
                    <a:lnTo>
                      <a:pt x="1341" y="799"/>
                    </a:lnTo>
                    <a:lnTo>
                      <a:pt x="1340" y="833"/>
                    </a:lnTo>
                    <a:lnTo>
                      <a:pt x="1339" y="861"/>
                    </a:lnTo>
                    <a:lnTo>
                      <a:pt x="1319" y="890"/>
                    </a:lnTo>
                    <a:lnTo>
                      <a:pt x="1262" y="956"/>
                    </a:lnTo>
                    <a:lnTo>
                      <a:pt x="1236" y="998"/>
                    </a:lnTo>
                    <a:lnTo>
                      <a:pt x="1167" y="1057"/>
                    </a:lnTo>
                    <a:lnTo>
                      <a:pt x="1119" y="1064"/>
                    </a:lnTo>
                    <a:lnTo>
                      <a:pt x="1064" y="1038"/>
                    </a:lnTo>
                    <a:lnTo>
                      <a:pt x="1011" y="1036"/>
                    </a:lnTo>
                    <a:lnTo>
                      <a:pt x="962" y="1064"/>
                    </a:lnTo>
                    <a:lnTo>
                      <a:pt x="918" y="1048"/>
                    </a:lnTo>
                    <a:cubicBezTo>
                      <a:pt x="918" y="1048"/>
                      <a:pt x="890" y="1012"/>
                      <a:pt x="870" y="1012"/>
                    </a:cubicBezTo>
                    <a:cubicBezTo>
                      <a:pt x="850" y="1012"/>
                      <a:pt x="825" y="1054"/>
                      <a:pt x="825" y="1054"/>
                    </a:cubicBezTo>
                    <a:cubicBezTo>
                      <a:pt x="825" y="1054"/>
                      <a:pt x="797" y="1073"/>
                      <a:pt x="781" y="1076"/>
                    </a:cubicBezTo>
                    <a:cubicBezTo>
                      <a:pt x="764" y="1079"/>
                      <a:pt x="719" y="1085"/>
                      <a:pt x="719" y="1085"/>
                    </a:cubicBezTo>
                    <a:lnTo>
                      <a:pt x="664" y="1091"/>
                    </a:lnTo>
                    <a:lnTo>
                      <a:pt x="625" y="1118"/>
                    </a:lnTo>
                    <a:lnTo>
                      <a:pt x="621" y="1148"/>
                    </a:lnTo>
                    <a:lnTo>
                      <a:pt x="579" y="1174"/>
                    </a:lnTo>
                    <a:lnTo>
                      <a:pt x="532" y="1180"/>
                    </a:lnTo>
                    <a:lnTo>
                      <a:pt x="490" y="1197"/>
                    </a:lnTo>
                    <a:lnTo>
                      <a:pt x="443" y="1220"/>
                    </a:lnTo>
                    <a:lnTo>
                      <a:pt x="411" y="1239"/>
                    </a:lnTo>
                    <a:lnTo>
                      <a:pt x="369" y="1236"/>
                    </a:lnTo>
                    <a:lnTo>
                      <a:pt x="325" y="1264"/>
                    </a:lnTo>
                    <a:lnTo>
                      <a:pt x="319" y="1293"/>
                    </a:lnTo>
                    <a:lnTo>
                      <a:pt x="285" y="1311"/>
                    </a:lnTo>
                    <a:lnTo>
                      <a:pt x="248" y="1322"/>
                    </a:lnTo>
                    <a:lnTo>
                      <a:pt x="203" y="1339"/>
                    </a:lnTo>
                    <a:lnTo>
                      <a:pt x="150" y="1334"/>
                    </a:lnTo>
                    <a:lnTo>
                      <a:pt x="92" y="1334"/>
                    </a:lnTo>
                    <a:lnTo>
                      <a:pt x="73" y="1324"/>
                    </a:lnTo>
                    <a:lnTo>
                      <a:pt x="52" y="1327"/>
                    </a:lnTo>
                    <a:lnTo>
                      <a:pt x="32" y="1357"/>
                    </a:lnTo>
                    <a:lnTo>
                      <a:pt x="7" y="1360"/>
                    </a:lnTo>
                    <a:lnTo>
                      <a:pt x="0" y="1327"/>
                    </a:lnTo>
                    <a:lnTo>
                      <a:pt x="17" y="1311"/>
                    </a:lnTo>
                    <a:cubicBezTo>
                      <a:pt x="17" y="1311"/>
                      <a:pt x="24" y="1296"/>
                      <a:pt x="24" y="1283"/>
                    </a:cubicBezTo>
                    <a:cubicBezTo>
                      <a:pt x="24" y="1271"/>
                      <a:pt x="16" y="1255"/>
                      <a:pt x="16" y="1247"/>
                    </a:cubicBezTo>
                    <a:cubicBezTo>
                      <a:pt x="16" y="1239"/>
                      <a:pt x="34" y="1222"/>
                      <a:pt x="34" y="1222"/>
                    </a:cubicBezTo>
                    <a:lnTo>
                      <a:pt x="49" y="1190"/>
                    </a:lnTo>
                    <a:lnTo>
                      <a:pt x="46" y="1149"/>
                    </a:lnTo>
                    <a:lnTo>
                      <a:pt x="63" y="1121"/>
                    </a:lnTo>
                    <a:lnTo>
                      <a:pt x="81" y="1090"/>
                    </a:lnTo>
                    <a:lnTo>
                      <a:pt x="73" y="1054"/>
                    </a:lnTo>
                    <a:lnTo>
                      <a:pt x="84" y="990"/>
                    </a:lnTo>
                    <a:lnTo>
                      <a:pt x="106" y="934"/>
                    </a:lnTo>
                    <a:lnTo>
                      <a:pt x="132" y="917"/>
                    </a:lnTo>
                    <a:lnTo>
                      <a:pt x="192" y="864"/>
                    </a:lnTo>
                    <a:lnTo>
                      <a:pt x="221" y="819"/>
                    </a:lnTo>
                    <a:lnTo>
                      <a:pt x="252" y="753"/>
                    </a:lnTo>
                    <a:lnTo>
                      <a:pt x="267" y="724"/>
                    </a:lnTo>
                    <a:lnTo>
                      <a:pt x="269" y="654"/>
                    </a:lnTo>
                    <a:lnTo>
                      <a:pt x="294" y="598"/>
                    </a:lnTo>
                    <a:lnTo>
                      <a:pt x="297" y="562"/>
                    </a:lnTo>
                    <a:lnTo>
                      <a:pt x="297" y="500"/>
                    </a:lnTo>
                    <a:lnTo>
                      <a:pt x="276" y="450"/>
                    </a:lnTo>
                    <a:lnTo>
                      <a:pt x="266" y="425"/>
                    </a:lnTo>
                    <a:lnTo>
                      <a:pt x="245" y="427"/>
                    </a:lnTo>
                    <a:lnTo>
                      <a:pt x="238" y="354"/>
                    </a:lnTo>
                    <a:cubicBezTo>
                      <a:pt x="238" y="354"/>
                      <a:pt x="221" y="335"/>
                      <a:pt x="220" y="327"/>
                    </a:cubicBezTo>
                    <a:cubicBezTo>
                      <a:pt x="218" y="319"/>
                      <a:pt x="221" y="305"/>
                      <a:pt x="225" y="293"/>
                    </a:cubicBezTo>
                    <a:cubicBezTo>
                      <a:pt x="229" y="282"/>
                      <a:pt x="231" y="254"/>
                      <a:pt x="232" y="240"/>
                    </a:cubicBezTo>
                    <a:cubicBezTo>
                      <a:pt x="234" y="226"/>
                      <a:pt x="269" y="215"/>
                      <a:pt x="271" y="207"/>
                    </a:cubicBezTo>
                    <a:cubicBezTo>
                      <a:pt x="274" y="198"/>
                      <a:pt x="287" y="172"/>
                      <a:pt x="287" y="172"/>
                    </a:cubicBezTo>
                    <a:lnTo>
                      <a:pt x="320" y="166"/>
                    </a:lnTo>
                    <a:lnTo>
                      <a:pt x="344" y="140"/>
                    </a:lnTo>
                    <a:lnTo>
                      <a:pt x="351" y="112"/>
                    </a:lnTo>
                    <a:lnTo>
                      <a:pt x="361" y="70"/>
                    </a:lnTo>
                    <a:lnTo>
                      <a:pt x="372" y="51"/>
                    </a:lnTo>
                    <a:lnTo>
                      <a:pt x="366" y="32"/>
                    </a:lnTo>
                    <a:lnTo>
                      <a:pt x="389" y="0"/>
                    </a:lnTo>
                    <a:lnTo>
                      <a:pt x="416" y="1"/>
                    </a:lnTo>
                    <a:lnTo>
                      <a:pt x="431" y="15"/>
                    </a:lnTo>
                    <a:lnTo>
                      <a:pt x="469" y="21"/>
                    </a:lnTo>
                    <a:lnTo>
                      <a:pt x="493" y="67"/>
                    </a:lnTo>
                    <a:lnTo>
                      <a:pt x="532" y="81"/>
                    </a:lnTo>
                    <a:lnTo>
                      <a:pt x="564" y="112"/>
                    </a:lnTo>
                    <a:lnTo>
                      <a:pt x="598" y="119"/>
                    </a:lnTo>
                    <a:lnTo>
                      <a:pt x="631" y="137"/>
                    </a:lnTo>
                    <a:cubicBezTo>
                      <a:pt x="631" y="137"/>
                      <a:pt x="629" y="182"/>
                      <a:pt x="634" y="200"/>
                    </a:cubicBezTo>
                    <a:cubicBezTo>
                      <a:pt x="640" y="218"/>
                      <a:pt x="651" y="227"/>
                      <a:pt x="661" y="238"/>
                    </a:cubicBezTo>
                    <a:cubicBezTo>
                      <a:pt x="671" y="249"/>
                      <a:pt x="715" y="278"/>
                      <a:pt x="715" y="278"/>
                    </a:cubicBezTo>
                    <a:lnTo>
                      <a:pt x="746" y="339"/>
                    </a:lnTo>
                    <a:lnTo>
                      <a:pt x="738" y="390"/>
                    </a:lnTo>
                    <a:lnTo>
                      <a:pt x="736" y="446"/>
                    </a:lnTo>
                    <a:lnTo>
                      <a:pt x="743" y="470"/>
                    </a:lnTo>
                    <a:lnTo>
                      <a:pt x="773" y="478"/>
                    </a:lnTo>
                    <a:lnTo>
                      <a:pt x="785" y="464"/>
                    </a:lnTo>
                    <a:lnTo>
                      <a:pt x="810" y="467"/>
                    </a:lnTo>
                    <a:lnTo>
                      <a:pt x="834" y="487"/>
                    </a:lnTo>
                    <a:lnTo>
                      <a:pt x="893" y="487"/>
                    </a:lnTo>
                    <a:lnTo>
                      <a:pt x="914" y="478"/>
                    </a:lnTo>
                    <a:lnTo>
                      <a:pt x="945" y="484"/>
                    </a:lnTo>
                    <a:lnTo>
                      <a:pt x="980" y="495"/>
                    </a:lnTo>
                    <a:lnTo>
                      <a:pt x="1045" y="508"/>
                    </a:lnTo>
                    <a:lnTo>
                      <a:pt x="1132" y="511"/>
                    </a:lnTo>
                    <a:lnTo>
                      <a:pt x="1175" y="526"/>
                    </a:lnTo>
                    <a:lnTo>
                      <a:pt x="1224" y="533"/>
                    </a:lnTo>
                    <a:lnTo>
                      <a:pt x="1280" y="548"/>
                    </a:lnTo>
                    <a:cubicBezTo>
                      <a:pt x="1280" y="548"/>
                      <a:pt x="1324" y="578"/>
                      <a:pt x="1331" y="593"/>
                    </a:cubicBezTo>
                    <a:cubicBezTo>
                      <a:pt x="1338" y="608"/>
                      <a:pt x="1350" y="625"/>
                      <a:pt x="1350" y="625"/>
                    </a:cubicBezTo>
                    <a:lnTo>
                      <a:pt x="1354" y="674"/>
                    </a:lnTo>
                    <a:lnTo>
                      <a:pt x="1382" y="694"/>
                    </a:lnTo>
                    <a:lnTo>
                      <a:pt x="1415" y="718"/>
                    </a:lnTo>
                    <a:lnTo>
                      <a:pt x="1416" y="732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185"/>
              <p:cNvSpPr>
                <a:spLocks/>
              </p:cNvSpPr>
              <p:nvPr/>
            </p:nvSpPr>
            <p:spPr bwMode="auto">
              <a:xfrm>
                <a:off x="4792108" y="5704033"/>
                <a:ext cx="199845" cy="135454"/>
              </a:xfrm>
              <a:custGeom>
                <a:avLst/>
                <a:gdLst>
                  <a:gd name="T0" fmla="*/ 2147483647 w 1423"/>
                  <a:gd name="T1" fmla="*/ 2147483647 h 972"/>
                  <a:gd name="T2" fmla="*/ 2147483647 w 1423"/>
                  <a:gd name="T3" fmla="*/ 2147483647 h 972"/>
                  <a:gd name="T4" fmla="*/ 2147483647 w 1423"/>
                  <a:gd name="T5" fmla="*/ 2147483647 h 972"/>
                  <a:gd name="T6" fmla="*/ 2147483647 w 1423"/>
                  <a:gd name="T7" fmla="*/ 2147483647 h 972"/>
                  <a:gd name="T8" fmla="*/ 2147483647 w 1423"/>
                  <a:gd name="T9" fmla="*/ 2147483647 h 972"/>
                  <a:gd name="T10" fmla="*/ 2147483647 w 1423"/>
                  <a:gd name="T11" fmla="*/ 2147483647 h 972"/>
                  <a:gd name="T12" fmla="*/ 2147483647 w 1423"/>
                  <a:gd name="T13" fmla="*/ 2147483647 h 972"/>
                  <a:gd name="T14" fmla="*/ 2147483647 w 1423"/>
                  <a:gd name="T15" fmla="*/ 2147483647 h 972"/>
                  <a:gd name="T16" fmla="*/ 2147483647 w 1423"/>
                  <a:gd name="T17" fmla="*/ 2147483647 h 972"/>
                  <a:gd name="T18" fmla="*/ 2147483647 w 1423"/>
                  <a:gd name="T19" fmla="*/ 2147483647 h 972"/>
                  <a:gd name="T20" fmla="*/ 2147483647 w 1423"/>
                  <a:gd name="T21" fmla="*/ 2147483647 h 972"/>
                  <a:gd name="T22" fmla="*/ 2147483647 w 1423"/>
                  <a:gd name="T23" fmla="*/ 2147483647 h 972"/>
                  <a:gd name="T24" fmla="*/ 2147483647 w 1423"/>
                  <a:gd name="T25" fmla="*/ 2147483647 h 972"/>
                  <a:gd name="T26" fmla="*/ 2147483647 w 1423"/>
                  <a:gd name="T27" fmla="*/ 2147483647 h 972"/>
                  <a:gd name="T28" fmla="*/ 2147483647 w 1423"/>
                  <a:gd name="T29" fmla="*/ 2147483647 h 972"/>
                  <a:gd name="T30" fmla="*/ 2147483647 w 1423"/>
                  <a:gd name="T31" fmla="*/ 2147483647 h 972"/>
                  <a:gd name="T32" fmla="*/ 2147483647 w 1423"/>
                  <a:gd name="T33" fmla="*/ 2147483647 h 972"/>
                  <a:gd name="T34" fmla="*/ 2147483647 w 1423"/>
                  <a:gd name="T35" fmla="*/ 2147483647 h 972"/>
                  <a:gd name="T36" fmla="*/ 2147483647 w 1423"/>
                  <a:gd name="T37" fmla="*/ 2147483647 h 972"/>
                  <a:gd name="T38" fmla="*/ 2147483647 w 1423"/>
                  <a:gd name="T39" fmla="*/ 2147483647 h 972"/>
                  <a:gd name="T40" fmla="*/ 2147483647 w 1423"/>
                  <a:gd name="T41" fmla="*/ 2147483647 h 972"/>
                  <a:gd name="T42" fmla="*/ 2147483647 w 1423"/>
                  <a:gd name="T43" fmla="*/ 2147483647 h 972"/>
                  <a:gd name="T44" fmla="*/ 2147483647 w 1423"/>
                  <a:gd name="T45" fmla="*/ 2147483647 h 972"/>
                  <a:gd name="T46" fmla="*/ 2147483647 w 1423"/>
                  <a:gd name="T47" fmla="*/ 2147483647 h 972"/>
                  <a:gd name="T48" fmla="*/ 2147483647 w 1423"/>
                  <a:gd name="T49" fmla="*/ 2147483647 h 972"/>
                  <a:gd name="T50" fmla="*/ 2147483647 w 1423"/>
                  <a:gd name="T51" fmla="*/ 2147483647 h 972"/>
                  <a:gd name="T52" fmla="*/ 2147483647 w 1423"/>
                  <a:gd name="T53" fmla="*/ 2147483647 h 972"/>
                  <a:gd name="T54" fmla="*/ 2147483647 w 1423"/>
                  <a:gd name="T55" fmla="*/ 2147483647 h 972"/>
                  <a:gd name="T56" fmla="*/ 2147483647 w 1423"/>
                  <a:gd name="T57" fmla="*/ 2147483647 h 972"/>
                  <a:gd name="T58" fmla="*/ 2147483647 w 1423"/>
                  <a:gd name="T59" fmla="*/ 2147483647 h 972"/>
                  <a:gd name="T60" fmla="*/ 2147483647 w 1423"/>
                  <a:gd name="T61" fmla="*/ 2147483647 h 972"/>
                  <a:gd name="T62" fmla="*/ 2147483647 w 1423"/>
                  <a:gd name="T63" fmla="*/ 2147483647 h 972"/>
                  <a:gd name="T64" fmla="*/ 2147483647 w 1423"/>
                  <a:gd name="T65" fmla="*/ 2147483647 h 972"/>
                  <a:gd name="T66" fmla="*/ 2147483647 w 1423"/>
                  <a:gd name="T67" fmla="*/ 2147483647 h 972"/>
                  <a:gd name="T68" fmla="*/ 2147483647 w 1423"/>
                  <a:gd name="T69" fmla="*/ 2147483647 h 972"/>
                  <a:gd name="T70" fmla="*/ 2147483647 w 1423"/>
                  <a:gd name="T71" fmla="*/ 2147483647 h 972"/>
                  <a:gd name="T72" fmla="*/ 2147483647 w 1423"/>
                  <a:gd name="T73" fmla="*/ 2147483647 h 972"/>
                  <a:gd name="T74" fmla="*/ 2147483647 w 1423"/>
                  <a:gd name="T75" fmla="*/ 2147483647 h 972"/>
                  <a:gd name="T76" fmla="*/ 2147483647 w 1423"/>
                  <a:gd name="T77" fmla="*/ 2147483647 h 972"/>
                  <a:gd name="T78" fmla="*/ 2147483647 w 1423"/>
                  <a:gd name="T79" fmla="*/ 2147483647 h 972"/>
                  <a:gd name="T80" fmla="*/ 2147483647 w 1423"/>
                  <a:gd name="T81" fmla="*/ 2147483647 h 972"/>
                  <a:gd name="T82" fmla="*/ 2147483647 w 1423"/>
                  <a:gd name="T83" fmla="*/ 2147483647 h 972"/>
                  <a:gd name="T84" fmla="*/ 2147483647 w 1423"/>
                  <a:gd name="T85" fmla="*/ 2147483647 h 972"/>
                  <a:gd name="T86" fmla="*/ 2147483647 w 1423"/>
                  <a:gd name="T87" fmla="*/ 2147483647 h 97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423" h="972">
                    <a:moveTo>
                      <a:pt x="105" y="54"/>
                    </a:moveTo>
                    <a:lnTo>
                      <a:pt x="105" y="54"/>
                    </a:lnTo>
                    <a:cubicBezTo>
                      <a:pt x="122" y="42"/>
                      <a:pt x="141" y="29"/>
                      <a:pt x="150" y="28"/>
                    </a:cubicBezTo>
                    <a:cubicBezTo>
                      <a:pt x="167" y="27"/>
                      <a:pt x="182" y="48"/>
                      <a:pt x="192" y="48"/>
                    </a:cubicBezTo>
                    <a:cubicBezTo>
                      <a:pt x="202" y="48"/>
                      <a:pt x="188" y="17"/>
                      <a:pt x="197" y="9"/>
                    </a:cubicBezTo>
                    <a:cubicBezTo>
                      <a:pt x="207" y="0"/>
                      <a:pt x="246" y="10"/>
                      <a:pt x="276" y="14"/>
                    </a:cubicBezTo>
                    <a:cubicBezTo>
                      <a:pt x="305" y="18"/>
                      <a:pt x="309" y="59"/>
                      <a:pt x="311" y="69"/>
                    </a:cubicBezTo>
                    <a:cubicBezTo>
                      <a:pt x="312" y="78"/>
                      <a:pt x="325" y="94"/>
                      <a:pt x="350" y="105"/>
                    </a:cubicBezTo>
                    <a:cubicBezTo>
                      <a:pt x="375" y="116"/>
                      <a:pt x="390" y="94"/>
                      <a:pt x="409" y="99"/>
                    </a:cubicBezTo>
                    <a:cubicBezTo>
                      <a:pt x="427" y="105"/>
                      <a:pt x="494" y="160"/>
                      <a:pt x="494" y="160"/>
                    </a:cubicBezTo>
                    <a:lnTo>
                      <a:pt x="593" y="176"/>
                    </a:lnTo>
                    <a:lnTo>
                      <a:pt x="641" y="214"/>
                    </a:lnTo>
                    <a:lnTo>
                      <a:pt x="687" y="239"/>
                    </a:lnTo>
                    <a:cubicBezTo>
                      <a:pt x="687" y="239"/>
                      <a:pt x="716" y="259"/>
                      <a:pt x="732" y="266"/>
                    </a:cubicBezTo>
                    <a:cubicBezTo>
                      <a:pt x="747" y="273"/>
                      <a:pt x="804" y="276"/>
                      <a:pt x="804" y="276"/>
                    </a:cubicBezTo>
                    <a:lnTo>
                      <a:pt x="843" y="271"/>
                    </a:lnTo>
                    <a:cubicBezTo>
                      <a:pt x="843" y="271"/>
                      <a:pt x="877" y="269"/>
                      <a:pt x="891" y="269"/>
                    </a:cubicBezTo>
                    <a:cubicBezTo>
                      <a:pt x="905" y="269"/>
                      <a:pt x="916" y="287"/>
                      <a:pt x="932" y="290"/>
                    </a:cubicBezTo>
                    <a:cubicBezTo>
                      <a:pt x="947" y="292"/>
                      <a:pt x="969" y="276"/>
                      <a:pt x="969" y="276"/>
                    </a:cubicBezTo>
                    <a:cubicBezTo>
                      <a:pt x="969" y="276"/>
                      <a:pt x="1017" y="270"/>
                      <a:pt x="1034" y="273"/>
                    </a:cubicBezTo>
                    <a:cubicBezTo>
                      <a:pt x="1050" y="276"/>
                      <a:pt x="1080" y="290"/>
                      <a:pt x="1102" y="305"/>
                    </a:cubicBezTo>
                    <a:cubicBezTo>
                      <a:pt x="1125" y="320"/>
                      <a:pt x="1172" y="315"/>
                      <a:pt x="1172" y="315"/>
                    </a:cubicBezTo>
                    <a:cubicBezTo>
                      <a:pt x="1172" y="315"/>
                      <a:pt x="1192" y="330"/>
                      <a:pt x="1200" y="336"/>
                    </a:cubicBezTo>
                    <a:cubicBezTo>
                      <a:pt x="1208" y="341"/>
                      <a:pt x="1234" y="343"/>
                      <a:pt x="1249" y="350"/>
                    </a:cubicBezTo>
                    <a:cubicBezTo>
                      <a:pt x="1264" y="357"/>
                      <a:pt x="1274" y="354"/>
                      <a:pt x="1278" y="344"/>
                    </a:cubicBezTo>
                    <a:cubicBezTo>
                      <a:pt x="1283" y="334"/>
                      <a:pt x="1290" y="311"/>
                      <a:pt x="1290" y="311"/>
                    </a:cubicBezTo>
                    <a:lnTo>
                      <a:pt x="1309" y="281"/>
                    </a:lnTo>
                    <a:lnTo>
                      <a:pt x="1326" y="241"/>
                    </a:lnTo>
                    <a:lnTo>
                      <a:pt x="1371" y="241"/>
                    </a:lnTo>
                    <a:lnTo>
                      <a:pt x="1372" y="239"/>
                    </a:lnTo>
                    <a:lnTo>
                      <a:pt x="1392" y="238"/>
                    </a:lnTo>
                    <a:lnTo>
                      <a:pt x="1402" y="263"/>
                    </a:lnTo>
                    <a:lnTo>
                      <a:pt x="1423" y="313"/>
                    </a:lnTo>
                    <a:lnTo>
                      <a:pt x="1423" y="375"/>
                    </a:lnTo>
                    <a:lnTo>
                      <a:pt x="1420" y="411"/>
                    </a:lnTo>
                    <a:lnTo>
                      <a:pt x="1395" y="467"/>
                    </a:lnTo>
                    <a:lnTo>
                      <a:pt x="1393" y="537"/>
                    </a:lnTo>
                    <a:lnTo>
                      <a:pt x="1378" y="566"/>
                    </a:lnTo>
                    <a:lnTo>
                      <a:pt x="1347" y="632"/>
                    </a:lnTo>
                    <a:lnTo>
                      <a:pt x="1318" y="677"/>
                    </a:lnTo>
                    <a:lnTo>
                      <a:pt x="1258" y="730"/>
                    </a:lnTo>
                    <a:lnTo>
                      <a:pt x="1232" y="747"/>
                    </a:lnTo>
                    <a:lnTo>
                      <a:pt x="1210" y="803"/>
                    </a:lnTo>
                    <a:lnTo>
                      <a:pt x="1199" y="867"/>
                    </a:lnTo>
                    <a:cubicBezTo>
                      <a:pt x="1199" y="867"/>
                      <a:pt x="1163" y="871"/>
                      <a:pt x="1147" y="855"/>
                    </a:cubicBezTo>
                    <a:cubicBezTo>
                      <a:pt x="1131" y="839"/>
                      <a:pt x="1110" y="799"/>
                      <a:pt x="1110" y="799"/>
                    </a:cubicBezTo>
                    <a:lnTo>
                      <a:pt x="1075" y="797"/>
                    </a:lnTo>
                    <a:lnTo>
                      <a:pt x="1054" y="818"/>
                    </a:lnTo>
                    <a:lnTo>
                      <a:pt x="1003" y="813"/>
                    </a:lnTo>
                    <a:lnTo>
                      <a:pt x="966" y="773"/>
                    </a:lnTo>
                    <a:lnTo>
                      <a:pt x="907" y="781"/>
                    </a:lnTo>
                    <a:cubicBezTo>
                      <a:pt x="907" y="781"/>
                      <a:pt x="883" y="746"/>
                      <a:pt x="854" y="751"/>
                    </a:cubicBezTo>
                    <a:cubicBezTo>
                      <a:pt x="825" y="757"/>
                      <a:pt x="790" y="781"/>
                      <a:pt x="790" y="781"/>
                    </a:cubicBezTo>
                    <a:lnTo>
                      <a:pt x="743" y="789"/>
                    </a:lnTo>
                    <a:lnTo>
                      <a:pt x="697" y="826"/>
                    </a:lnTo>
                    <a:lnTo>
                      <a:pt x="634" y="829"/>
                    </a:lnTo>
                    <a:cubicBezTo>
                      <a:pt x="634" y="829"/>
                      <a:pt x="599" y="807"/>
                      <a:pt x="567" y="818"/>
                    </a:cubicBezTo>
                    <a:cubicBezTo>
                      <a:pt x="535" y="829"/>
                      <a:pt x="501" y="860"/>
                      <a:pt x="501" y="860"/>
                    </a:cubicBezTo>
                    <a:lnTo>
                      <a:pt x="466" y="898"/>
                    </a:lnTo>
                    <a:lnTo>
                      <a:pt x="400" y="916"/>
                    </a:lnTo>
                    <a:lnTo>
                      <a:pt x="349" y="927"/>
                    </a:lnTo>
                    <a:lnTo>
                      <a:pt x="325" y="964"/>
                    </a:lnTo>
                    <a:lnTo>
                      <a:pt x="290" y="972"/>
                    </a:lnTo>
                    <a:cubicBezTo>
                      <a:pt x="290" y="972"/>
                      <a:pt x="293" y="946"/>
                      <a:pt x="264" y="948"/>
                    </a:cubicBezTo>
                    <a:cubicBezTo>
                      <a:pt x="235" y="951"/>
                      <a:pt x="224" y="964"/>
                      <a:pt x="224" y="964"/>
                    </a:cubicBezTo>
                    <a:lnTo>
                      <a:pt x="166" y="954"/>
                    </a:lnTo>
                    <a:lnTo>
                      <a:pt x="150" y="930"/>
                    </a:lnTo>
                    <a:lnTo>
                      <a:pt x="131" y="906"/>
                    </a:lnTo>
                    <a:lnTo>
                      <a:pt x="96" y="876"/>
                    </a:lnTo>
                    <a:lnTo>
                      <a:pt x="48" y="858"/>
                    </a:lnTo>
                    <a:lnTo>
                      <a:pt x="13" y="871"/>
                    </a:lnTo>
                    <a:lnTo>
                      <a:pt x="14" y="799"/>
                    </a:lnTo>
                    <a:lnTo>
                      <a:pt x="44" y="759"/>
                    </a:lnTo>
                    <a:lnTo>
                      <a:pt x="82" y="722"/>
                    </a:lnTo>
                    <a:lnTo>
                      <a:pt x="72" y="675"/>
                    </a:lnTo>
                    <a:lnTo>
                      <a:pt x="21" y="630"/>
                    </a:lnTo>
                    <a:lnTo>
                      <a:pt x="27" y="579"/>
                    </a:lnTo>
                    <a:lnTo>
                      <a:pt x="37" y="507"/>
                    </a:lnTo>
                    <a:lnTo>
                      <a:pt x="49" y="474"/>
                    </a:lnTo>
                    <a:lnTo>
                      <a:pt x="46" y="430"/>
                    </a:lnTo>
                    <a:lnTo>
                      <a:pt x="9" y="397"/>
                    </a:lnTo>
                    <a:cubicBezTo>
                      <a:pt x="9" y="397"/>
                      <a:pt x="0" y="373"/>
                      <a:pt x="7" y="355"/>
                    </a:cubicBezTo>
                    <a:cubicBezTo>
                      <a:pt x="14" y="338"/>
                      <a:pt x="35" y="334"/>
                      <a:pt x="51" y="334"/>
                    </a:cubicBezTo>
                    <a:cubicBezTo>
                      <a:pt x="67" y="334"/>
                      <a:pt x="100" y="310"/>
                      <a:pt x="102" y="297"/>
                    </a:cubicBezTo>
                    <a:cubicBezTo>
                      <a:pt x="103" y="285"/>
                      <a:pt x="117" y="248"/>
                      <a:pt x="126" y="220"/>
                    </a:cubicBezTo>
                    <a:cubicBezTo>
                      <a:pt x="135" y="192"/>
                      <a:pt x="142" y="159"/>
                      <a:pt x="142" y="138"/>
                    </a:cubicBezTo>
                    <a:cubicBezTo>
                      <a:pt x="142" y="117"/>
                      <a:pt x="131" y="79"/>
                      <a:pt x="131" y="79"/>
                    </a:cubicBezTo>
                    <a:lnTo>
                      <a:pt x="105" y="54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186"/>
              <p:cNvSpPr>
                <a:spLocks/>
              </p:cNvSpPr>
              <p:nvPr/>
            </p:nvSpPr>
            <p:spPr bwMode="auto">
              <a:xfrm>
                <a:off x="4897811" y="5818012"/>
                <a:ext cx="218012" cy="127194"/>
              </a:xfrm>
              <a:custGeom>
                <a:avLst/>
                <a:gdLst>
                  <a:gd name="T0" fmla="*/ 2147483647 w 1549"/>
                  <a:gd name="T1" fmla="*/ 2147483647 h 905"/>
                  <a:gd name="T2" fmla="*/ 2147483647 w 1549"/>
                  <a:gd name="T3" fmla="*/ 2147483647 h 905"/>
                  <a:gd name="T4" fmla="*/ 2147483647 w 1549"/>
                  <a:gd name="T5" fmla="*/ 2147483647 h 905"/>
                  <a:gd name="T6" fmla="*/ 2147483647 w 1549"/>
                  <a:gd name="T7" fmla="*/ 2147483647 h 905"/>
                  <a:gd name="T8" fmla="*/ 2147483647 w 1549"/>
                  <a:gd name="T9" fmla="*/ 2147483647 h 905"/>
                  <a:gd name="T10" fmla="*/ 2147483647 w 1549"/>
                  <a:gd name="T11" fmla="*/ 2147483647 h 905"/>
                  <a:gd name="T12" fmla="*/ 2147483647 w 1549"/>
                  <a:gd name="T13" fmla="*/ 2147483647 h 905"/>
                  <a:gd name="T14" fmla="*/ 2147483647 w 1549"/>
                  <a:gd name="T15" fmla="*/ 2147483647 h 905"/>
                  <a:gd name="T16" fmla="*/ 2147483647 w 1549"/>
                  <a:gd name="T17" fmla="*/ 2147483647 h 905"/>
                  <a:gd name="T18" fmla="*/ 2147483647 w 1549"/>
                  <a:gd name="T19" fmla="*/ 2147483647 h 905"/>
                  <a:gd name="T20" fmla="*/ 2147483647 w 1549"/>
                  <a:gd name="T21" fmla="*/ 2147483647 h 905"/>
                  <a:gd name="T22" fmla="*/ 2147483647 w 1549"/>
                  <a:gd name="T23" fmla="*/ 2147483647 h 905"/>
                  <a:gd name="T24" fmla="*/ 2147483647 w 1549"/>
                  <a:gd name="T25" fmla="*/ 2147483647 h 905"/>
                  <a:gd name="T26" fmla="*/ 2147483647 w 1549"/>
                  <a:gd name="T27" fmla="*/ 2147483647 h 905"/>
                  <a:gd name="T28" fmla="*/ 2147483647 w 1549"/>
                  <a:gd name="T29" fmla="*/ 2147483647 h 905"/>
                  <a:gd name="T30" fmla="*/ 2147483647 w 1549"/>
                  <a:gd name="T31" fmla="*/ 2147483647 h 905"/>
                  <a:gd name="T32" fmla="*/ 2147483647 w 1549"/>
                  <a:gd name="T33" fmla="*/ 2147483647 h 905"/>
                  <a:gd name="T34" fmla="*/ 2147483647 w 1549"/>
                  <a:gd name="T35" fmla="*/ 2147483647 h 905"/>
                  <a:gd name="T36" fmla="*/ 2147483647 w 1549"/>
                  <a:gd name="T37" fmla="*/ 2147483647 h 905"/>
                  <a:gd name="T38" fmla="*/ 2147483647 w 1549"/>
                  <a:gd name="T39" fmla="*/ 2147483647 h 905"/>
                  <a:gd name="T40" fmla="*/ 2147483647 w 1549"/>
                  <a:gd name="T41" fmla="*/ 2147483647 h 905"/>
                  <a:gd name="T42" fmla="*/ 2147483647 w 1549"/>
                  <a:gd name="T43" fmla="*/ 2147483647 h 905"/>
                  <a:gd name="T44" fmla="*/ 2147483647 w 1549"/>
                  <a:gd name="T45" fmla="*/ 2147483647 h 905"/>
                  <a:gd name="T46" fmla="*/ 2147483647 w 1549"/>
                  <a:gd name="T47" fmla="*/ 2147483647 h 905"/>
                  <a:gd name="T48" fmla="*/ 2147483647 w 1549"/>
                  <a:gd name="T49" fmla="*/ 2147483647 h 905"/>
                  <a:gd name="T50" fmla="*/ 2147483647 w 1549"/>
                  <a:gd name="T51" fmla="*/ 2147483647 h 905"/>
                  <a:gd name="T52" fmla="*/ 2147483647 w 1549"/>
                  <a:gd name="T53" fmla="*/ 2147483647 h 905"/>
                  <a:gd name="T54" fmla="*/ 2147483647 w 1549"/>
                  <a:gd name="T55" fmla="*/ 2147483647 h 905"/>
                  <a:gd name="T56" fmla="*/ 2147483647 w 1549"/>
                  <a:gd name="T57" fmla="*/ 2147483647 h 905"/>
                  <a:gd name="T58" fmla="*/ 2147483647 w 1549"/>
                  <a:gd name="T59" fmla="*/ 2147483647 h 905"/>
                  <a:gd name="T60" fmla="*/ 2147483647 w 1549"/>
                  <a:gd name="T61" fmla="*/ 2147483647 h 905"/>
                  <a:gd name="T62" fmla="*/ 2147483647 w 1549"/>
                  <a:gd name="T63" fmla="*/ 2147483647 h 905"/>
                  <a:gd name="T64" fmla="*/ 2147483647 w 1549"/>
                  <a:gd name="T65" fmla="*/ 2147483647 h 905"/>
                  <a:gd name="T66" fmla="*/ 2147483647 w 1549"/>
                  <a:gd name="T67" fmla="*/ 2147483647 h 905"/>
                  <a:gd name="T68" fmla="*/ 2147483647 w 1549"/>
                  <a:gd name="T69" fmla="*/ 2147483647 h 905"/>
                  <a:gd name="T70" fmla="*/ 2147483647 w 1549"/>
                  <a:gd name="T71" fmla="*/ 2147483647 h 905"/>
                  <a:gd name="T72" fmla="*/ 2147483647 w 1549"/>
                  <a:gd name="T73" fmla="*/ 2147483647 h 905"/>
                  <a:gd name="T74" fmla="*/ 2147483647 w 1549"/>
                  <a:gd name="T75" fmla="*/ 2147483647 h 905"/>
                  <a:gd name="T76" fmla="*/ 2147483647 w 1549"/>
                  <a:gd name="T77" fmla="*/ 2147483647 h 905"/>
                  <a:gd name="T78" fmla="*/ 2147483647 w 1549"/>
                  <a:gd name="T79" fmla="*/ 2147483647 h 905"/>
                  <a:gd name="T80" fmla="*/ 2147483647 w 1549"/>
                  <a:gd name="T81" fmla="*/ 2147483647 h 905"/>
                  <a:gd name="T82" fmla="*/ 2147483647 w 1549"/>
                  <a:gd name="T83" fmla="*/ 2147483647 h 905"/>
                  <a:gd name="T84" fmla="*/ 2147483647 w 1549"/>
                  <a:gd name="T85" fmla="*/ 2147483647 h 905"/>
                  <a:gd name="T86" fmla="*/ 2147483647 w 1549"/>
                  <a:gd name="T87" fmla="*/ 2147483647 h 905"/>
                  <a:gd name="T88" fmla="*/ 2147483647 w 1549"/>
                  <a:gd name="T89" fmla="*/ 2147483647 h 905"/>
                  <a:gd name="T90" fmla="*/ 0 w 1549"/>
                  <a:gd name="T91" fmla="*/ 2147483647 h 905"/>
                  <a:gd name="T92" fmla="*/ 2147483647 w 1549"/>
                  <a:gd name="T93" fmla="*/ 2147483647 h 90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49" h="905">
                    <a:moveTo>
                      <a:pt x="25" y="588"/>
                    </a:moveTo>
                    <a:lnTo>
                      <a:pt x="59" y="594"/>
                    </a:lnTo>
                    <a:lnTo>
                      <a:pt x="88" y="630"/>
                    </a:lnTo>
                    <a:lnTo>
                      <a:pt x="187" y="634"/>
                    </a:lnTo>
                    <a:lnTo>
                      <a:pt x="221" y="663"/>
                    </a:lnTo>
                    <a:lnTo>
                      <a:pt x="228" y="694"/>
                    </a:lnTo>
                    <a:lnTo>
                      <a:pt x="249" y="717"/>
                    </a:lnTo>
                    <a:lnTo>
                      <a:pt x="317" y="715"/>
                    </a:lnTo>
                    <a:lnTo>
                      <a:pt x="356" y="734"/>
                    </a:lnTo>
                    <a:lnTo>
                      <a:pt x="382" y="788"/>
                    </a:lnTo>
                    <a:lnTo>
                      <a:pt x="419" y="788"/>
                    </a:lnTo>
                    <a:lnTo>
                      <a:pt x="441" y="812"/>
                    </a:lnTo>
                    <a:lnTo>
                      <a:pt x="474" y="819"/>
                    </a:lnTo>
                    <a:lnTo>
                      <a:pt x="514" y="812"/>
                    </a:lnTo>
                    <a:lnTo>
                      <a:pt x="555" y="812"/>
                    </a:lnTo>
                    <a:lnTo>
                      <a:pt x="581" y="845"/>
                    </a:lnTo>
                    <a:lnTo>
                      <a:pt x="623" y="845"/>
                    </a:lnTo>
                    <a:lnTo>
                      <a:pt x="671" y="884"/>
                    </a:lnTo>
                    <a:lnTo>
                      <a:pt x="709" y="884"/>
                    </a:lnTo>
                    <a:lnTo>
                      <a:pt x="740" y="883"/>
                    </a:lnTo>
                    <a:lnTo>
                      <a:pt x="764" y="905"/>
                    </a:lnTo>
                    <a:lnTo>
                      <a:pt x="794" y="898"/>
                    </a:lnTo>
                    <a:lnTo>
                      <a:pt x="821" y="846"/>
                    </a:lnTo>
                    <a:lnTo>
                      <a:pt x="871" y="836"/>
                    </a:lnTo>
                    <a:cubicBezTo>
                      <a:pt x="871" y="836"/>
                      <a:pt x="909" y="843"/>
                      <a:pt x="925" y="843"/>
                    </a:cubicBezTo>
                    <a:cubicBezTo>
                      <a:pt x="941" y="843"/>
                      <a:pt x="958" y="848"/>
                      <a:pt x="996" y="829"/>
                    </a:cubicBezTo>
                    <a:cubicBezTo>
                      <a:pt x="1034" y="810"/>
                      <a:pt x="1010" y="802"/>
                      <a:pt x="1041" y="791"/>
                    </a:cubicBezTo>
                    <a:cubicBezTo>
                      <a:pt x="1072" y="781"/>
                      <a:pt x="1079" y="812"/>
                      <a:pt x="1096" y="808"/>
                    </a:cubicBezTo>
                    <a:cubicBezTo>
                      <a:pt x="1113" y="805"/>
                      <a:pt x="1169" y="750"/>
                      <a:pt x="1169" y="750"/>
                    </a:cubicBezTo>
                    <a:lnTo>
                      <a:pt x="1200" y="741"/>
                    </a:lnTo>
                    <a:cubicBezTo>
                      <a:pt x="1200" y="741"/>
                      <a:pt x="1231" y="720"/>
                      <a:pt x="1260" y="703"/>
                    </a:cubicBezTo>
                    <a:cubicBezTo>
                      <a:pt x="1290" y="686"/>
                      <a:pt x="1357" y="656"/>
                      <a:pt x="1357" y="656"/>
                    </a:cubicBezTo>
                    <a:lnTo>
                      <a:pt x="1414" y="622"/>
                    </a:lnTo>
                    <a:lnTo>
                      <a:pt x="1433" y="594"/>
                    </a:lnTo>
                    <a:lnTo>
                      <a:pt x="1476" y="568"/>
                    </a:lnTo>
                    <a:lnTo>
                      <a:pt x="1504" y="542"/>
                    </a:lnTo>
                    <a:lnTo>
                      <a:pt x="1549" y="527"/>
                    </a:lnTo>
                    <a:lnTo>
                      <a:pt x="1549" y="490"/>
                    </a:lnTo>
                    <a:lnTo>
                      <a:pt x="1508" y="492"/>
                    </a:lnTo>
                    <a:cubicBezTo>
                      <a:pt x="1508" y="492"/>
                      <a:pt x="1492" y="508"/>
                      <a:pt x="1476" y="508"/>
                    </a:cubicBezTo>
                    <a:cubicBezTo>
                      <a:pt x="1461" y="508"/>
                      <a:pt x="1342" y="421"/>
                      <a:pt x="1342" y="421"/>
                    </a:cubicBezTo>
                    <a:lnTo>
                      <a:pt x="1319" y="288"/>
                    </a:lnTo>
                    <a:lnTo>
                      <a:pt x="1336" y="262"/>
                    </a:lnTo>
                    <a:lnTo>
                      <a:pt x="1333" y="235"/>
                    </a:lnTo>
                    <a:lnTo>
                      <a:pt x="1312" y="210"/>
                    </a:lnTo>
                    <a:lnTo>
                      <a:pt x="1314" y="162"/>
                    </a:lnTo>
                    <a:lnTo>
                      <a:pt x="1338" y="131"/>
                    </a:lnTo>
                    <a:lnTo>
                      <a:pt x="1338" y="79"/>
                    </a:lnTo>
                    <a:lnTo>
                      <a:pt x="1330" y="52"/>
                    </a:lnTo>
                    <a:lnTo>
                      <a:pt x="1286" y="36"/>
                    </a:lnTo>
                    <a:cubicBezTo>
                      <a:pt x="1286" y="36"/>
                      <a:pt x="1258" y="0"/>
                      <a:pt x="1238" y="0"/>
                    </a:cubicBezTo>
                    <a:cubicBezTo>
                      <a:pt x="1218" y="0"/>
                      <a:pt x="1193" y="42"/>
                      <a:pt x="1193" y="42"/>
                    </a:cubicBezTo>
                    <a:cubicBezTo>
                      <a:pt x="1193" y="42"/>
                      <a:pt x="1165" y="61"/>
                      <a:pt x="1149" y="64"/>
                    </a:cubicBezTo>
                    <a:cubicBezTo>
                      <a:pt x="1132" y="67"/>
                      <a:pt x="1087" y="73"/>
                      <a:pt x="1087" y="73"/>
                    </a:cubicBezTo>
                    <a:lnTo>
                      <a:pt x="1032" y="79"/>
                    </a:lnTo>
                    <a:lnTo>
                      <a:pt x="993" y="106"/>
                    </a:lnTo>
                    <a:lnTo>
                      <a:pt x="989" y="136"/>
                    </a:lnTo>
                    <a:lnTo>
                      <a:pt x="947" y="162"/>
                    </a:lnTo>
                    <a:lnTo>
                      <a:pt x="900" y="168"/>
                    </a:lnTo>
                    <a:lnTo>
                      <a:pt x="858" y="185"/>
                    </a:lnTo>
                    <a:lnTo>
                      <a:pt x="811" y="208"/>
                    </a:lnTo>
                    <a:lnTo>
                      <a:pt x="779" y="226"/>
                    </a:lnTo>
                    <a:lnTo>
                      <a:pt x="737" y="224"/>
                    </a:lnTo>
                    <a:lnTo>
                      <a:pt x="693" y="252"/>
                    </a:lnTo>
                    <a:lnTo>
                      <a:pt x="687" y="281"/>
                    </a:lnTo>
                    <a:lnTo>
                      <a:pt x="653" y="299"/>
                    </a:lnTo>
                    <a:lnTo>
                      <a:pt x="616" y="310"/>
                    </a:lnTo>
                    <a:lnTo>
                      <a:pt x="571" y="327"/>
                    </a:lnTo>
                    <a:lnTo>
                      <a:pt x="518" y="322"/>
                    </a:lnTo>
                    <a:lnTo>
                      <a:pt x="460" y="322"/>
                    </a:lnTo>
                    <a:lnTo>
                      <a:pt x="441" y="312"/>
                    </a:lnTo>
                    <a:lnTo>
                      <a:pt x="420" y="315"/>
                    </a:lnTo>
                    <a:lnTo>
                      <a:pt x="400" y="345"/>
                    </a:lnTo>
                    <a:lnTo>
                      <a:pt x="375" y="348"/>
                    </a:lnTo>
                    <a:lnTo>
                      <a:pt x="368" y="315"/>
                    </a:lnTo>
                    <a:lnTo>
                      <a:pt x="349" y="330"/>
                    </a:lnTo>
                    <a:lnTo>
                      <a:pt x="345" y="354"/>
                    </a:lnTo>
                    <a:lnTo>
                      <a:pt x="313" y="365"/>
                    </a:lnTo>
                    <a:lnTo>
                      <a:pt x="288" y="357"/>
                    </a:lnTo>
                    <a:lnTo>
                      <a:pt x="260" y="385"/>
                    </a:lnTo>
                    <a:cubicBezTo>
                      <a:pt x="260" y="385"/>
                      <a:pt x="274" y="402"/>
                      <a:pt x="263" y="414"/>
                    </a:cubicBezTo>
                    <a:cubicBezTo>
                      <a:pt x="252" y="427"/>
                      <a:pt x="218" y="413"/>
                      <a:pt x="214" y="423"/>
                    </a:cubicBezTo>
                    <a:cubicBezTo>
                      <a:pt x="210" y="432"/>
                      <a:pt x="224" y="455"/>
                      <a:pt x="212" y="460"/>
                    </a:cubicBezTo>
                    <a:cubicBezTo>
                      <a:pt x="201" y="466"/>
                      <a:pt x="179" y="451"/>
                      <a:pt x="179" y="451"/>
                    </a:cubicBezTo>
                    <a:lnTo>
                      <a:pt x="156" y="456"/>
                    </a:lnTo>
                    <a:lnTo>
                      <a:pt x="134" y="486"/>
                    </a:lnTo>
                    <a:lnTo>
                      <a:pt x="141" y="509"/>
                    </a:lnTo>
                    <a:lnTo>
                      <a:pt x="108" y="507"/>
                    </a:lnTo>
                    <a:lnTo>
                      <a:pt x="91" y="491"/>
                    </a:lnTo>
                    <a:lnTo>
                      <a:pt x="61" y="481"/>
                    </a:lnTo>
                    <a:lnTo>
                      <a:pt x="24" y="494"/>
                    </a:lnTo>
                    <a:lnTo>
                      <a:pt x="0" y="529"/>
                    </a:lnTo>
                    <a:lnTo>
                      <a:pt x="4" y="553"/>
                    </a:lnTo>
                    <a:lnTo>
                      <a:pt x="38" y="565"/>
                    </a:lnTo>
                    <a:lnTo>
                      <a:pt x="25" y="588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187"/>
              <p:cNvSpPr>
                <a:spLocks/>
              </p:cNvSpPr>
              <p:nvPr/>
            </p:nvSpPr>
            <p:spPr bwMode="auto">
              <a:xfrm>
                <a:off x="5102611" y="5851049"/>
                <a:ext cx="186632" cy="92505"/>
              </a:xfrm>
              <a:custGeom>
                <a:avLst/>
                <a:gdLst>
                  <a:gd name="T0" fmla="*/ 2147483647 w 1336"/>
                  <a:gd name="T1" fmla="*/ 2147483647 h 655"/>
                  <a:gd name="T2" fmla="*/ 2147483647 w 1336"/>
                  <a:gd name="T3" fmla="*/ 2147483647 h 655"/>
                  <a:gd name="T4" fmla="*/ 0 w 1336"/>
                  <a:gd name="T5" fmla="*/ 2147483647 h 655"/>
                  <a:gd name="T6" fmla="*/ 2147483647 w 1336"/>
                  <a:gd name="T7" fmla="*/ 2147483647 h 655"/>
                  <a:gd name="T8" fmla="*/ 2147483647 w 1336"/>
                  <a:gd name="T9" fmla="*/ 2147483647 h 655"/>
                  <a:gd name="T10" fmla="*/ 2147483647 w 1336"/>
                  <a:gd name="T11" fmla="*/ 2147483647 h 655"/>
                  <a:gd name="T12" fmla="*/ 2147483647 w 1336"/>
                  <a:gd name="T13" fmla="*/ 2147483647 h 655"/>
                  <a:gd name="T14" fmla="*/ 2147483647 w 1336"/>
                  <a:gd name="T15" fmla="*/ 2147483647 h 655"/>
                  <a:gd name="T16" fmla="*/ 2147483647 w 1336"/>
                  <a:gd name="T17" fmla="*/ 2147483647 h 655"/>
                  <a:gd name="T18" fmla="*/ 2147483647 w 1336"/>
                  <a:gd name="T19" fmla="*/ 2147483647 h 655"/>
                  <a:gd name="T20" fmla="*/ 2147483647 w 1336"/>
                  <a:gd name="T21" fmla="*/ 2147483647 h 655"/>
                  <a:gd name="T22" fmla="*/ 2147483647 w 1336"/>
                  <a:gd name="T23" fmla="*/ 2147483647 h 655"/>
                  <a:gd name="T24" fmla="*/ 2147483647 w 1336"/>
                  <a:gd name="T25" fmla="*/ 2147483647 h 655"/>
                  <a:gd name="T26" fmla="*/ 2147483647 w 1336"/>
                  <a:gd name="T27" fmla="*/ 2147483647 h 655"/>
                  <a:gd name="T28" fmla="*/ 2147483647 w 1336"/>
                  <a:gd name="T29" fmla="*/ 2147483647 h 655"/>
                  <a:gd name="T30" fmla="*/ 2147483647 w 1336"/>
                  <a:gd name="T31" fmla="*/ 2147483647 h 655"/>
                  <a:gd name="T32" fmla="*/ 2147483647 w 1336"/>
                  <a:gd name="T33" fmla="*/ 2147483647 h 655"/>
                  <a:gd name="T34" fmla="*/ 2147483647 w 1336"/>
                  <a:gd name="T35" fmla="*/ 2147483647 h 655"/>
                  <a:gd name="T36" fmla="*/ 2147483647 w 1336"/>
                  <a:gd name="T37" fmla="*/ 2147483647 h 655"/>
                  <a:gd name="T38" fmla="*/ 2147483647 w 1336"/>
                  <a:gd name="T39" fmla="*/ 2147483647 h 655"/>
                  <a:gd name="T40" fmla="*/ 2147483647 w 1336"/>
                  <a:gd name="T41" fmla="*/ 2147483647 h 655"/>
                  <a:gd name="T42" fmla="*/ 2147483647 w 1336"/>
                  <a:gd name="T43" fmla="*/ 2147483647 h 655"/>
                  <a:gd name="T44" fmla="*/ 2147483647 w 1336"/>
                  <a:gd name="T45" fmla="*/ 2147483647 h 655"/>
                  <a:gd name="T46" fmla="*/ 2147483647 w 1336"/>
                  <a:gd name="T47" fmla="*/ 2147483647 h 655"/>
                  <a:gd name="T48" fmla="*/ 2147483647 w 1336"/>
                  <a:gd name="T49" fmla="*/ 2147483647 h 655"/>
                  <a:gd name="T50" fmla="*/ 2147483647 w 1336"/>
                  <a:gd name="T51" fmla="*/ 0 h 655"/>
                  <a:gd name="T52" fmla="*/ 2147483647 w 1336"/>
                  <a:gd name="T53" fmla="*/ 2147483647 h 655"/>
                  <a:gd name="T54" fmla="*/ 2147483647 w 1336"/>
                  <a:gd name="T55" fmla="*/ 2147483647 h 655"/>
                  <a:gd name="T56" fmla="*/ 2147483647 w 1336"/>
                  <a:gd name="T57" fmla="*/ 2147483647 h 655"/>
                  <a:gd name="T58" fmla="*/ 2147483647 w 1336"/>
                  <a:gd name="T59" fmla="*/ 2147483647 h 655"/>
                  <a:gd name="T60" fmla="*/ 2147483647 w 1336"/>
                  <a:gd name="T61" fmla="*/ 2147483647 h 655"/>
                  <a:gd name="T62" fmla="*/ 2147483647 w 1336"/>
                  <a:gd name="T63" fmla="*/ 2147483647 h 655"/>
                  <a:gd name="T64" fmla="*/ 2147483647 w 1336"/>
                  <a:gd name="T65" fmla="*/ 2147483647 h 655"/>
                  <a:gd name="T66" fmla="*/ 2147483647 w 1336"/>
                  <a:gd name="T67" fmla="*/ 2147483647 h 655"/>
                  <a:gd name="T68" fmla="*/ 2147483647 w 1336"/>
                  <a:gd name="T69" fmla="*/ 2147483647 h 655"/>
                  <a:gd name="T70" fmla="*/ 2147483647 w 1336"/>
                  <a:gd name="T71" fmla="*/ 2147483647 h 655"/>
                  <a:gd name="T72" fmla="*/ 2147483647 w 1336"/>
                  <a:gd name="T73" fmla="*/ 2147483647 h 655"/>
                  <a:gd name="T74" fmla="*/ 2147483647 w 1336"/>
                  <a:gd name="T75" fmla="*/ 2147483647 h 655"/>
                  <a:gd name="T76" fmla="*/ 2147483647 w 1336"/>
                  <a:gd name="T77" fmla="*/ 2147483647 h 655"/>
                  <a:gd name="T78" fmla="*/ 2147483647 w 1336"/>
                  <a:gd name="T79" fmla="*/ 2147483647 h 65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36" h="655">
                    <a:moveTo>
                      <a:pt x="6" y="338"/>
                    </a:moveTo>
                    <a:lnTo>
                      <a:pt x="24" y="394"/>
                    </a:lnTo>
                    <a:lnTo>
                      <a:pt x="19" y="440"/>
                    </a:lnTo>
                    <a:lnTo>
                      <a:pt x="21" y="490"/>
                    </a:lnTo>
                    <a:lnTo>
                      <a:pt x="0" y="524"/>
                    </a:lnTo>
                    <a:lnTo>
                      <a:pt x="2" y="579"/>
                    </a:lnTo>
                    <a:lnTo>
                      <a:pt x="37" y="546"/>
                    </a:lnTo>
                    <a:lnTo>
                      <a:pt x="108" y="545"/>
                    </a:lnTo>
                    <a:lnTo>
                      <a:pt x="129" y="572"/>
                    </a:lnTo>
                    <a:lnTo>
                      <a:pt x="171" y="564"/>
                    </a:lnTo>
                    <a:lnTo>
                      <a:pt x="192" y="546"/>
                    </a:lnTo>
                    <a:lnTo>
                      <a:pt x="257" y="550"/>
                    </a:lnTo>
                    <a:lnTo>
                      <a:pt x="308" y="600"/>
                    </a:lnTo>
                    <a:lnTo>
                      <a:pt x="351" y="604"/>
                    </a:lnTo>
                    <a:lnTo>
                      <a:pt x="421" y="627"/>
                    </a:lnTo>
                    <a:lnTo>
                      <a:pt x="468" y="632"/>
                    </a:lnTo>
                    <a:lnTo>
                      <a:pt x="507" y="595"/>
                    </a:lnTo>
                    <a:lnTo>
                      <a:pt x="556" y="571"/>
                    </a:lnTo>
                    <a:lnTo>
                      <a:pt x="603" y="564"/>
                    </a:lnTo>
                    <a:lnTo>
                      <a:pt x="621" y="606"/>
                    </a:lnTo>
                    <a:lnTo>
                      <a:pt x="666" y="630"/>
                    </a:lnTo>
                    <a:lnTo>
                      <a:pt x="693" y="630"/>
                    </a:lnTo>
                    <a:lnTo>
                      <a:pt x="710" y="655"/>
                    </a:lnTo>
                    <a:lnTo>
                      <a:pt x="769" y="623"/>
                    </a:lnTo>
                    <a:lnTo>
                      <a:pt x="804" y="599"/>
                    </a:lnTo>
                    <a:lnTo>
                      <a:pt x="850" y="546"/>
                    </a:lnTo>
                    <a:lnTo>
                      <a:pt x="904" y="506"/>
                    </a:lnTo>
                    <a:lnTo>
                      <a:pt x="940" y="487"/>
                    </a:lnTo>
                    <a:lnTo>
                      <a:pt x="954" y="466"/>
                    </a:lnTo>
                    <a:lnTo>
                      <a:pt x="958" y="431"/>
                    </a:lnTo>
                    <a:lnTo>
                      <a:pt x="1047" y="426"/>
                    </a:lnTo>
                    <a:lnTo>
                      <a:pt x="1059" y="396"/>
                    </a:lnTo>
                    <a:lnTo>
                      <a:pt x="1088" y="400"/>
                    </a:lnTo>
                    <a:lnTo>
                      <a:pt x="1078" y="378"/>
                    </a:lnTo>
                    <a:lnTo>
                      <a:pt x="1095" y="337"/>
                    </a:lnTo>
                    <a:lnTo>
                      <a:pt x="1130" y="324"/>
                    </a:lnTo>
                    <a:lnTo>
                      <a:pt x="1184" y="244"/>
                    </a:lnTo>
                    <a:lnTo>
                      <a:pt x="1287" y="240"/>
                    </a:lnTo>
                    <a:lnTo>
                      <a:pt x="1288" y="206"/>
                    </a:lnTo>
                    <a:lnTo>
                      <a:pt x="1333" y="161"/>
                    </a:lnTo>
                    <a:lnTo>
                      <a:pt x="1336" y="121"/>
                    </a:lnTo>
                    <a:lnTo>
                      <a:pt x="1323" y="76"/>
                    </a:lnTo>
                    <a:lnTo>
                      <a:pt x="1293" y="70"/>
                    </a:lnTo>
                    <a:lnTo>
                      <a:pt x="1272" y="93"/>
                    </a:lnTo>
                    <a:lnTo>
                      <a:pt x="1211" y="62"/>
                    </a:lnTo>
                    <a:lnTo>
                      <a:pt x="1154" y="50"/>
                    </a:lnTo>
                    <a:lnTo>
                      <a:pt x="1096" y="55"/>
                    </a:lnTo>
                    <a:lnTo>
                      <a:pt x="1044" y="53"/>
                    </a:lnTo>
                    <a:lnTo>
                      <a:pt x="1012" y="59"/>
                    </a:lnTo>
                    <a:lnTo>
                      <a:pt x="943" y="59"/>
                    </a:lnTo>
                    <a:lnTo>
                      <a:pt x="923" y="32"/>
                    </a:lnTo>
                    <a:lnTo>
                      <a:pt x="881" y="5"/>
                    </a:lnTo>
                    <a:lnTo>
                      <a:pt x="832" y="0"/>
                    </a:lnTo>
                    <a:lnTo>
                      <a:pt x="814" y="22"/>
                    </a:lnTo>
                    <a:lnTo>
                      <a:pt x="792" y="47"/>
                    </a:lnTo>
                    <a:lnTo>
                      <a:pt x="814" y="72"/>
                    </a:lnTo>
                    <a:lnTo>
                      <a:pt x="790" y="89"/>
                    </a:lnTo>
                    <a:lnTo>
                      <a:pt x="752" y="43"/>
                    </a:lnTo>
                    <a:lnTo>
                      <a:pt x="725" y="52"/>
                    </a:lnTo>
                    <a:lnTo>
                      <a:pt x="663" y="20"/>
                    </a:lnTo>
                    <a:lnTo>
                      <a:pt x="619" y="30"/>
                    </a:lnTo>
                    <a:lnTo>
                      <a:pt x="602" y="8"/>
                    </a:lnTo>
                    <a:lnTo>
                      <a:pt x="569" y="5"/>
                    </a:lnTo>
                    <a:lnTo>
                      <a:pt x="520" y="45"/>
                    </a:lnTo>
                    <a:lnTo>
                      <a:pt x="478" y="50"/>
                    </a:lnTo>
                    <a:lnTo>
                      <a:pt x="444" y="66"/>
                    </a:lnTo>
                    <a:lnTo>
                      <a:pt x="424" y="63"/>
                    </a:lnTo>
                    <a:lnTo>
                      <a:pt x="394" y="98"/>
                    </a:lnTo>
                    <a:lnTo>
                      <a:pt x="359" y="110"/>
                    </a:lnTo>
                    <a:lnTo>
                      <a:pt x="337" y="95"/>
                    </a:lnTo>
                    <a:lnTo>
                      <a:pt x="297" y="95"/>
                    </a:lnTo>
                    <a:lnTo>
                      <a:pt x="238" y="138"/>
                    </a:lnTo>
                    <a:lnTo>
                      <a:pt x="186" y="147"/>
                    </a:lnTo>
                    <a:lnTo>
                      <a:pt x="142" y="199"/>
                    </a:lnTo>
                    <a:lnTo>
                      <a:pt x="114" y="207"/>
                    </a:lnTo>
                    <a:lnTo>
                      <a:pt x="90" y="224"/>
                    </a:lnTo>
                    <a:lnTo>
                      <a:pt x="90" y="253"/>
                    </a:lnTo>
                    <a:lnTo>
                      <a:pt x="90" y="290"/>
                    </a:lnTo>
                    <a:lnTo>
                      <a:pt x="45" y="305"/>
                    </a:lnTo>
                    <a:lnTo>
                      <a:pt x="6" y="338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188"/>
              <p:cNvSpPr>
                <a:spLocks/>
              </p:cNvSpPr>
              <p:nvPr/>
            </p:nvSpPr>
            <p:spPr bwMode="auto">
              <a:xfrm>
                <a:off x="4881295" y="5900606"/>
                <a:ext cx="94142" cy="100764"/>
              </a:xfrm>
              <a:custGeom>
                <a:avLst/>
                <a:gdLst>
                  <a:gd name="T0" fmla="*/ 2147483647 w 669"/>
                  <a:gd name="T1" fmla="*/ 0 h 717"/>
                  <a:gd name="T2" fmla="*/ 2147483647 w 669"/>
                  <a:gd name="T3" fmla="*/ 0 h 717"/>
                  <a:gd name="T4" fmla="*/ 2147483647 w 669"/>
                  <a:gd name="T5" fmla="*/ 2147483647 h 717"/>
                  <a:gd name="T6" fmla="*/ 2147483647 w 669"/>
                  <a:gd name="T7" fmla="*/ 2147483647 h 717"/>
                  <a:gd name="T8" fmla="*/ 2147483647 w 669"/>
                  <a:gd name="T9" fmla="*/ 2147483647 h 717"/>
                  <a:gd name="T10" fmla="*/ 2147483647 w 669"/>
                  <a:gd name="T11" fmla="*/ 2147483647 h 717"/>
                  <a:gd name="T12" fmla="*/ 2147483647 w 669"/>
                  <a:gd name="T13" fmla="*/ 2147483647 h 717"/>
                  <a:gd name="T14" fmla="*/ 2147483647 w 669"/>
                  <a:gd name="T15" fmla="*/ 2147483647 h 717"/>
                  <a:gd name="T16" fmla="*/ 2147483647 w 669"/>
                  <a:gd name="T17" fmla="*/ 2147483647 h 717"/>
                  <a:gd name="T18" fmla="*/ 2147483647 w 669"/>
                  <a:gd name="T19" fmla="*/ 2147483647 h 717"/>
                  <a:gd name="T20" fmla="*/ 2147483647 w 669"/>
                  <a:gd name="T21" fmla="*/ 2147483647 h 717"/>
                  <a:gd name="T22" fmla="*/ 2147483647 w 669"/>
                  <a:gd name="T23" fmla="*/ 2147483647 h 717"/>
                  <a:gd name="T24" fmla="*/ 2147483647 w 669"/>
                  <a:gd name="T25" fmla="*/ 2147483647 h 717"/>
                  <a:gd name="T26" fmla="*/ 2147483647 w 669"/>
                  <a:gd name="T27" fmla="*/ 2147483647 h 717"/>
                  <a:gd name="T28" fmla="*/ 2147483647 w 669"/>
                  <a:gd name="T29" fmla="*/ 2147483647 h 717"/>
                  <a:gd name="T30" fmla="*/ 2147483647 w 669"/>
                  <a:gd name="T31" fmla="*/ 2147483647 h 717"/>
                  <a:gd name="T32" fmla="*/ 2147483647 w 669"/>
                  <a:gd name="T33" fmla="*/ 2147483647 h 717"/>
                  <a:gd name="T34" fmla="*/ 2147483647 w 669"/>
                  <a:gd name="T35" fmla="*/ 2147483647 h 717"/>
                  <a:gd name="T36" fmla="*/ 2147483647 w 669"/>
                  <a:gd name="T37" fmla="*/ 2147483647 h 717"/>
                  <a:gd name="T38" fmla="*/ 2147483647 w 669"/>
                  <a:gd name="T39" fmla="*/ 2147483647 h 717"/>
                  <a:gd name="T40" fmla="*/ 2147483647 w 669"/>
                  <a:gd name="T41" fmla="*/ 2147483647 h 717"/>
                  <a:gd name="T42" fmla="*/ 2147483647 w 669"/>
                  <a:gd name="T43" fmla="*/ 2147483647 h 717"/>
                  <a:gd name="T44" fmla="*/ 2147483647 w 669"/>
                  <a:gd name="T45" fmla="*/ 2147483647 h 717"/>
                  <a:gd name="T46" fmla="*/ 2147483647 w 669"/>
                  <a:gd name="T47" fmla="*/ 2147483647 h 717"/>
                  <a:gd name="T48" fmla="*/ 2147483647 w 669"/>
                  <a:gd name="T49" fmla="*/ 2147483647 h 717"/>
                  <a:gd name="T50" fmla="*/ 2147483647 w 669"/>
                  <a:gd name="T51" fmla="*/ 2147483647 h 717"/>
                  <a:gd name="T52" fmla="*/ 2147483647 w 669"/>
                  <a:gd name="T53" fmla="*/ 2147483647 h 717"/>
                  <a:gd name="T54" fmla="*/ 2147483647 w 669"/>
                  <a:gd name="T55" fmla="*/ 2147483647 h 717"/>
                  <a:gd name="T56" fmla="*/ 2147483647 w 669"/>
                  <a:gd name="T57" fmla="*/ 2147483647 h 717"/>
                  <a:gd name="T58" fmla="*/ 2147483647 w 669"/>
                  <a:gd name="T59" fmla="*/ 2147483647 h 717"/>
                  <a:gd name="T60" fmla="*/ 2147483647 w 669"/>
                  <a:gd name="T61" fmla="*/ 2147483647 h 717"/>
                  <a:gd name="T62" fmla="*/ 2147483647 w 669"/>
                  <a:gd name="T63" fmla="*/ 2147483647 h 717"/>
                  <a:gd name="T64" fmla="*/ 2147483647 w 669"/>
                  <a:gd name="T65" fmla="*/ 2147483647 h 717"/>
                  <a:gd name="T66" fmla="*/ 2147483647 w 669"/>
                  <a:gd name="T67" fmla="*/ 2147483647 h 717"/>
                  <a:gd name="T68" fmla="*/ 2147483647 w 669"/>
                  <a:gd name="T69" fmla="*/ 2147483647 h 717"/>
                  <a:gd name="T70" fmla="*/ 2147483647 w 669"/>
                  <a:gd name="T71" fmla="*/ 2147483647 h 717"/>
                  <a:gd name="T72" fmla="*/ 2147483647 w 669"/>
                  <a:gd name="T73" fmla="*/ 2147483647 h 717"/>
                  <a:gd name="T74" fmla="*/ 2147483647 w 669"/>
                  <a:gd name="T75" fmla="*/ 2147483647 h 717"/>
                  <a:gd name="T76" fmla="*/ 2147483647 w 669"/>
                  <a:gd name="T77" fmla="*/ 2147483647 h 717"/>
                  <a:gd name="T78" fmla="*/ 2147483647 w 669"/>
                  <a:gd name="T79" fmla="*/ 2147483647 h 717"/>
                  <a:gd name="T80" fmla="*/ 2147483647 w 669"/>
                  <a:gd name="T81" fmla="*/ 2147483647 h 717"/>
                  <a:gd name="T82" fmla="*/ 2147483647 w 669"/>
                  <a:gd name="T83" fmla="*/ 2147483647 h 717"/>
                  <a:gd name="T84" fmla="*/ 2147483647 w 669"/>
                  <a:gd name="T85" fmla="*/ 2147483647 h 717"/>
                  <a:gd name="T86" fmla="*/ 2147483647 w 669"/>
                  <a:gd name="T87" fmla="*/ 2147483647 h 717"/>
                  <a:gd name="T88" fmla="*/ 2147483647 w 669"/>
                  <a:gd name="T89" fmla="*/ 2147483647 h 717"/>
                  <a:gd name="T90" fmla="*/ 2147483647 w 669"/>
                  <a:gd name="T91" fmla="*/ 2147483647 h 717"/>
                  <a:gd name="T92" fmla="*/ 2147483647 w 669"/>
                  <a:gd name="T93" fmla="*/ 2147483647 h 717"/>
                  <a:gd name="T94" fmla="*/ 2147483647 w 669"/>
                  <a:gd name="T95" fmla="*/ 2147483647 h 717"/>
                  <a:gd name="T96" fmla="*/ 2147483647 w 669"/>
                  <a:gd name="T97" fmla="*/ 2147483647 h 717"/>
                  <a:gd name="T98" fmla="*/ 2147483647 w 669"/>
                  <a:gd name="T99" fmla="*/ 2147483647 h 717"/>
                  <a:gd name="T100" fmla="*/ 2147483647 w 669"/>
                  <a:gd name="T101" fmla="*/ 2147483647 h 717"/>
                  <a:gd name="T102" fmla="*/ 0 w 669"/>
                  <a:gd name="T103" fmla="*/ 2147483647 h 717"/>
                  <a:gd name="T104" fmla="*/ 0 w 669"/>
                  <a:gd name="T105" fmla="*/ 2147483647 h 717"/>
                  <a:gd name="T106" fmla="*/ 2147483647 w 669"/>
                  <a:gd name="T107" fmla="*/ 2147483647 h 717"/>
                  <a:gd name="T108" fmla="*/ 2147483647 w 669"/>
                  <a:gd name="T109" fmla="*/ 2147483647 h 717"/>
                  <a:gd name="T110" fmla="*/ 2147483647 w 669"/>
                  <a:gd name="T111" fmla="*/ 2147483647 h 717"/>
                  <a:gd name="T112" fmla="*/ 2147483647 w 669"/>
                  <a:gd name="T113" fmla="*/ 2147483647 h 717"/>
                  <a:gd name="T114" fmla="*/ 2147483647 w 669"/>
                  <a:gd name="T115" fmla="*/ 0 h 71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69" h="717">
                    <a:moveTo>
                      <a:pt x="136" y="1"/>
                    </a:moveTo>
                    <a:lnTo>
                      <a:pt x="151" y="0"/>
                    </a:lnTo>
                    <a:lnTo>
                      <a:pt x="185" y="6"/>
                    </a:lnTo>
                    <a:lnTo>
                      <a:pt x="214" y="42"/>
                    </a:lnTo>
                    <a:lnTo>
                      <a:pt x="313" y="46"/>
                    </a:lnTo>
                    <a:lnTo>
                      <a:pt x="347" y="75"/>
                    </a:lnTo>
                    <a:lnTo>
                      <a:pt x="354" y="106"/>
                    </a:lnTo>
                    <a:lnTo>
                      <a:pt x="375" y="129"/>
                    </a:lnTo>
                    <a:lnTo>
                      <a:pt x="443" y="127"/>
                    </a:lnTo>
                    <a:lnTo>
                      <a:pt x="482" y="146"/>
                    </a:lnTo>
                    <a:lnTo>
                      <a:pt x="508" y="200"/>
                    </a:lnTo>
                    <a:lnTo>
                      <a:pt x="508" y="219"/>
                    </a:lnTo>
                    <a:lnTo>
                      <a:pt x="537" y="235"/>
                    </a:lnTo>
                    <a:lnTo>
                      <a:pt x="557" y="251"/>
                    </a:lnTo>
                    <a:lnTo>
                      <a:pt x="557" y="299"/>
                    </a:lnTo>
                    <a:lnTo>
                      <a:pt x="577" y="316"/>
                    </a:lnTo>
                    <a:cubicBezTo>
                      <a:pt x="577" y="316"/>
                      <a:pt x="593" y="312"/>
                      <a:pt x="598" y="320"/>
                    </a:cubicBezTo>
                    <a:cubicBezTo>
                      <a:pt x="602" y="328"/>
                      <a:pt x="602" y="347"/>
                      <a:pt x="602" y="347"/>
                    </a:cubicBezTo>
                    <a:lnTo>
                      <a:pt x="600" y="386"/>
                    </a:lnTo>
                    <a:lnTo>
                      <a:pt x="605" y="412"/>
                    </a:lnTo>
                    <a:lnTo>
                      <a:pt x="620" y="449"/>
                    </a:lnTo>
                    <a:lnTo>
                      <a:pt x="627" y="474"/>
                    </a:lnTo>
                    <a:lnTo>
                      <a:pt x="626" y="505"/>
                    </a:lnTo>
                    <a:lnTo>
                      <a:pt x="644" y="523"/>
                    </a:lnTo>
                    <a:lnTo>
                      <a:pt x="663" y="541"/>
                    </a:lnTo>
                    <a:lnTo>
                      <a:pt x="669" y="618"/>
                    </a:lnTo>
                    <a:lnTo>
                      <a:pt x="654" y="649"/>
                    </a:lnTo>
                    <a:lnTo>
                      <a:pt x="648" y="658"/>
                    </a:lnTo>
                    <a:lnTo>
                      <a:pt x="633" y="662"/>
                    </a:lnTo>
                    <a:lnTo>
                      <a:pt x="599" y="640"/>
                    </a:lnTo>
                    <a:lnTo>
                      <a:pt x="570" y="619"/>
                    </a:lnTo>
                    <a:lnTo>
                      <a:pt x="549" y="614"/>
                    </a:lnTo>
                    <a:cubicBezTo>
                      <a:pt x="549" y="614"/>
                      <a:pt x="546" y="594"/>
                      <a:pt x="535" y="594"/>
                    </a:cubicBezTo>
                    <a:cubicBezTo>
                      <a:pt x="523" y="594"/>
                      <a:pt x="515" y="622"/>
                      <a:pt x="515" y="622"/>
                    </a:cubicBezTo>
                    <a:lnTo>
                      <a:pt x="487" y="653"/>
                    </a:lnTo>
                    <a:lnTo>
                      <a:pt x="427" y="656"/>
                    </a:lnTo>
                    <a:lnTo>
                      <a:pt x="361" y="709"/>
                    </a:lnTo>
                    <a:lnTo>
                      <a:pt x="315" y="717"/>
                    </a:lnTo>
                    <a:lnTo>
                      <a:pt x="252" y="710"/>
                    </a:lnTo>
                    <a:lnTo>
                      <a:pt x="176" y="712"/>
                    </a:lnTo>
                    <a:lnTo>
                      <a:pt x="173" y="635"/>
                    </a:lnTo>
                    <a:lnTo>
                      <a:pt x="162" y="595"/>
                    </a:lnTo>
                    <a:lnTo>
                      <a:pt x="145" y="571"/>
                    </a:lnTo>
                    <a:lnTo>
                      <a:pt x="122" y="546"/>
                    </a:lnTo>
                    <a:lnTo>
                      <a:pt x="110" y="483"/>
                    </a:lnTo>
                    <a:lnTo>
                      <a:pt x="132" y="457"/>
                    </a:lnTo>
                    <a:lnTo>
                      <a:pt x="134" y="431"/>
                    </a:lnTo>
                    <a:lnTo>
                      <a:pt x="122" y="394"/>
                    </a:lnTo>
                    <a:lnTo>
                      <a:pt x="98" y="384"/>
                    </a:lnTo>
                    <a:lnTo>
                      <a:pt x="77" y="366"/>
                    </a:lnTo>
                    <a:lnTo>
                      <a:pt x="31" y="253"/>
                    </a:lnTo>
                    <a:lnTo>
                      <a:pt x="5" y="242"/>
                    </a:lnTo>
                    <a:lnTo>
                      <a:pt x="0" y="195"/>
                    </a:lnTo>
                    <a:lnTo>
                      <a:pt x="28" y="148"/>
                    </a:lnTo>
                    <a:lnTo>
                      <a:pt x="80" y="106"/>
                    </a:lnTo>
                    <a:lnTo>
                      <a:pt x="115" y="79"/>
                    </a:lnTo>
                    <a:lnTo>
                      <a:pt x="131" y="32"/>
                    </a:lnTo>
                    <a:lnTo>
                      <a:pt x="136" y="1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189"/>
              <p:cNvSpPr>
                <a:spLocks/>
              </p:cNvSpPr>
              <p:nvPr/>
            </p:nvSpPr>
            <p:spPr bwMode="auto">
              <a:xfrm>
                <a:off x="4777244" y="5979896"/>
                <a:ext cx="142038" cy="82594"/>
              </a:xfrm>
              <a:custGeom>
                <a:avLst/>
                <a:gdLst>
                  <a:gd name="T0" fmla="*/ 2147483647 w 1019"/>
                  <a:gd name="T1" fmla="*/ 2147483647 h 599"/>
                  <a:gd name="T2" fmla="*/ 2147483647 w 1019"/>
                  <a:gd name="T3" fmla="*/ 2147483647 h 599"/>
                  <a:gd name="T4" fmla="*/ 2147483647 w 1019"/>
                  <a:gd name="T5" fmla="*/ 2147483647 h 599"/>
                  <a:gd name="T6" fmla="*/ 2147483647 w 1019"/>
                  <a:gd name="T7" fmla="*/ 2147483647 h 599"/>
                  <a:gd name="T8" fmla="*/ 2147483647 w 1019"/>
                  <a:gd name="T9" fmla="*/ 2147483647 h 599"/>
                  <a:gd name="T10" fmla="*/ 2147483647 w 1019"/>
                  <a:gd name="T11" fmla="*/ 2147483647 h 599"/>
                  <a:gd name="T12" fmla="*/ 2147483647 w 1019"/>
                  <a:gd name="T13" fmla="*/ 2147483647 h 599"/>
                  <a:gd name="T14" fmla="*/ 2147483647 w 1019"/>
                  <a:gd name="T15" fmla="*/ 2147483647 h 599"/>
                  <a:gd name="T16" fmla="*/ 2147483647 w 1019"/>
                  <a:gd name="T17" fmla="*/ 2147483647 h 599"/>
                  <a:gd name="T18" fmla="*/ 2147483647 w 1019"/>
                  <a:gd name="T19" fmla="*/ 2147483647 h 599"/>
                  <a:gd name="T20" fmla="*/ 2147483647 w 1019"/>
                  <a:gd name="T21" fmla="*/ 2147483647 h 599"/>
                  <a:gd name="T22" fmla="*/ 2147483647 w 1019"/>
                  <a:gd name="T23" fmla="*/ 2147483647 h 599"/>
                  <a:gd name="T24" fmla="*/ 2147483647 w 1019"/>
                  <a:gd name="T25" fmla="*/ 2147483647 h 599"/>
                  <a:gd name="T26" fmla="*/ 2147483647 w 1019"/>
                  <a:gd name="T27" fmla="*/ 2147483647 h 599"/>
                  <a:gd name="T28" fmla="*/ 2147483647 w 1019"/>
                  <a:gd name="T29" fmla="*/ 2147483647 h 599"/>
                  <a:gd name="T30" fmla="*/ 2147483647 w 1019"/>
                  <a:gd name="T31" fmla="*/ 2147483647 h 599"/>
                  <a:gd name="T32" fmla="*/ 2147483647 w 1019"/>
                  <a:gd name="T33" fmla="*/ 2147483647 h 599"/>
                  <a:gd name="T34" fmla="*/ 2147483647 w 1019"/>
                  <a:gd name="T35" fmla="*/ 2147483647 h 599"/>
                  <a:gd name="T36" fmla="*/ 2147483647 w 1019"/>
                  <a:gd name="T37" fmla="*/ 2147483647 h 599"/>
                  <a:gd name="T38" fmla="*/ 2147483647 w 1019"/>
                  <a:gd name="T39" fmla="*/ 2147483647 h 599"/>
                  <a:gd name="T40" fmla="*/ 2147483647 w 1019"/>
                  <a:gd name="T41" fmla="*/ 2147483647 h 599"/>
                  <a:gd name="T42" fmla="*/ 2147483647 w 1019"/>
                  <a:gd name="T43" fmla="*/ 2147483647 h 599"/>
                  <a:gd name="T44" fmla="*/ 2147483647 w 1019"/>
                  <a:gd name="T45" fmla="*/ 2147483647 h 599"/>
                  <a:gd name="T46" fmla="*/ 2147483647 w 1019"/>
                  <a:gd name="T47" fmla="*/ 2147483647 h 599"/>
                  <a:gd name="T48" fmla="*/ 2147483647 w 1019"/>
                  <a:gd name="T49" fmla="*/ 2147483647 h 599"/>
                  <a:gd name="T50" fmla="*/ 2147483647 w 1019"/>
                  <a:gd name="T51" fmla="*/ 2147483647 h 599"/>
                  <a:gd name="T52" fmla="*/ 2147483647 w 1019"/>
                  <a:gd name="T53" fmla="*/ 2147483647 h 599"/>
                  <a:gd name="T54" fmla="*/ 2147483647 w 1019"/>
                  <a:gd name="T55" fmla="*/ 2147483647 h 599"/>
                  <a:gd name="T56" fmla="*/ 2147483647 w 1019"/>
                  <a:gd name="T57" fmla="*/ 2147483647 h 599"/>
                  <a:gd name="T58" fmla="*/ 2147483647 w 1019"/>
                  <a:gd name="T59" fmla="*/ 0 h 599"/>
                  <a:gd name="T60" fmla="*/ 2147483647 w 1019"/>
                  <a:gd name="T61" fmla="*/ 0 h 599"/>
                  <a:gd name="T62" fmla="*/ 2147483647 w 1019"/>
                  <a:gd name="T63" fmla="*/ 2147483647 h 599"/>
                  <a:gd name="T64" fmla="*/ 2147483647 w 1019"/>
                  <a:gd name="T65" fmla="*/ 2147483647 h 599"/>
                  <a:gd name="T66" fmla="*/ 0 w 1019"/>
                  <a:gd name="T67" fmla="*/ 2147483647 h 599"/>
                  <a:gd name="T68" fmla="*/ 0 w 1019"/>
                  <a:gd name="T69" fmla="*/ 2147483647 h 599"/>
                  <a:gd name="T70" fmla="*/ 2147483647 w 1019"/>
                  <a:gd name="T71" fmla="*/ 2147483647 h 599"/>
                  <a:gd name="T72" fmla="*/ 2147483647 w 1019"/>
                  <a:gd name="T73" fmla="*/ 2147483647 h 599"/>
                  <a:gd name="T74" fmla="*/ 2147483647 w 1019"/>
                  <a:gd name="T75" fmla="*/ 2147483647 h 599"/>
                  <a:gd name="T76" fmla="*/ 2147483647 w 1019"/>
                  <a:gd name="T77" fmla="*/ 2147483647 h 599"/>
                  <a:gd name="T78" fmla="*/ 2147483647 w 1019"/>
                  <a:gd name="T79" fmla="*/ 2147483647 h 599"/>
                  <a:gd name="T80" fmla="*/ 2147483647 w 1019"/>
                  <a:gd name="T81" fmla="*/ 2147483647 h 599"/>
                  <a:gd name="T82" fmla="*/ 2147483647 w 1019"/>
                  <a:gd name="T83" fmla="*/ 2147483647 h 599"/>
                  <a:gd name="T84" fmla="*/ 2147483647 w 1019"/>
                  <a:gd name="T85" fmla="*/ 2147483647 h 599"/>
                  <a:gd name="T86" fmla="*/ 2147483647 w 1019"/>
                  <a:gd name="T87" fmla="*/ 2147483647 h 599"/>
                  <a:gd name="T88" fmla="*/ 2147483647 w 1019"/>
                  <a:gd name="T89" fmla="*/ 2147483647 h 599"/>
                  <a:gd name="T90" fmla="*/ 2147483647 w 1019"/>
                  <a:gd name="T91" fmla="*/ 2147483647 h 599"/>
                  <a:gd name="T92" fmla="*/ 2147483647 w 1019"/>
                  <a:gd name="T93" fmla="*/ 2147483647 h 599"/>
                  <a:gd name="T94" fmla="*/ 2147483647 w 1019"/>
                  <a:gd name="T95" fmla="*/ 2147483647 h 599"/>
                  <a:gd name="T96" fmla="*/ 2147483647 w 1019"/>
                  <a:gd name="T97" fmla="*/ 2147483647 h 599"/>
                  <a:gd name="T98" fmla="*/ 2147483647 w 1019"/>
                  <a:gd name="T99" fmla="*/ 2147483647 h 599"/>
                  <a:gd name="T100" fmla="*/ 2147483647 w 1019"/>
                  <a:gd name="T101" fmla="*/ 2147483647 h 599"/>
                  <a:gd name="T102" fmla="*/ 2147483647 w 1019"/>
                  <a:gd name="T103" fmla="*/ 2147483647 h 599"/>
                  <a:gd name="T104" fmla="*/ 2147483647 w 1019"/>
                  <a:gd name="T105" fmla="*/ 2147483647 h 599"/>
                  <a:gd name="T106" fmla="*/ 2147483647 w 1019"/>
                  <a:gd name="T107" fmla="*/ 2147483647 h 599"/>
                  <a:gd name="T108" fmla="*/ 2147483647 w 1019"/>
                  <a:gd name="T109" fmla="*/ 2147483647 h 599"/>
                  <a:gd name="T110" fmla="*/ 2147483647 w 1019"/>
                  <a:gd name="T111" fmla="*/ 2147483647 h 599"/>
                  <a:gd name="T112" fmla="*/ 2147483647 w 1019"/>
                  <a:gd name="T113" fmla="*/ 2147483647 h 599"/>
                  <a:gd name="T114" fmla="*/ 2147483647 w 1019"/>
                  <a:gd name="T115" fmla="*/ 2147483647 h 599"/>
                  <a:gd name="T116" fmla="*/ 2147483647 w 1019"/>
                  <a:gd name="T117" fmla="*/ 2147483647 h 599"/>
                  <a:gd name="T118" fmla="*/ 2147483647 w 1019"/>
                  <a:gd name="T119" fmla="*/ 2147483647 h 599"/>
                  <a:gd name="T120" fmla="*/ 2147483647 w 1019"/>
                  <a:gd name="T121" fmla="*/ 2147483647 h 599"/>
                  <a:gd name="T122" fmla="*/ 2147483647 w 1019"/>
                  <a:gd name="T123" fmla="*/ 2147483647 h 599"/>
                  <a:gd name="T124" fmla="*/ 2147483647 w 1019"/>
                  <a:gd name="T125" fmla="*/ 2147483647 h 59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19" h="599">
                    <a:moveTo>
                      <a:pt x="894" y="561"/>
                    </a:moveTo>
                    <a:lnTo>
                      <a:pt x="897" y="540"/>
                    </a:lnTo>
                    <a:lnTo>
                      <a:pt x="922" y="526"/>
                    </a:lnTo>
                    <a:lnTo>
                      <a:pt x="918" y="493"/>
                    </a:lnTo>
                    <a:lnTo>
                      <a:pt x="936" y="468"/>
                    </a:lnTo>
                    <a:lnTo>
                      <a:pt x="926" y="439"/>
                    </a:lnTo>
                    <a:lnTo>
                      <a:pt x="920" y="398"/>
                    </a:lnTo>
                    <a:lnTo>
                      <a:pt x="937" y="358"/>
                    </a:lnTo>
                    <a:lnTo>
                      <a:pt x="990" y="334"/>
                    </a:lnTo>
                    <a:lnTo>
                      <a:pt x="1019" y="321"/>
                    </a:lnTo>
                    <a:lnTo>
                      <a:pt x="1017" y="292"/>
                    </a:lnTo>
                    <a:lnTo>
                      <a:pt x="978" y="272"/>
                    </a:lnTo>
                    <a:lnTo>
                      <a:pt x="963" y="243"/>
                    </a:lnTo>
                    <a:lnTo>
                      <a:pt x="916" y="204"/>
                    </a:lnTo>
                    <a:lnTo>
                      <a:pt x="916" y="183"/>
                    </a:lnTo>
                    <a:lnTo>
                      <a:pt x="917" y="154"/>
                    </a:lnTo>
                    <a:lnTo>
                      <a:pt x="884" y="144"/>
                    </a:lnTo>
                    <a:cubicBezTo>
                      <a:pt x="884" y="144"/>
                      <a:pt x="861" y="128"/>
                      <a:pt x="852" y="128"/>
                    </a:cubicBezTo>
                    <a:cubicBezTo>
                      <a:pt x="844" y="128"/>
                      <a:pt x="818" y="146"/>
                      <a:pt x="818" y="146"/>
                    </a:cubicBezTo>
                    <a:lnTo>
                      <a:pt x="788" y="146"/>
                    </a:lnTo>
                    <a:lnTo>
                      <a:pt x="725" y="88"/>
                    </a:lnTo>
                    <a:lnTo>
                      <a:pt x="693" y="83"/>
                    </a:lnTo>
                    <a:lnTo>
                      <a:pt x="637" y="102"/>
                    </a:lnTo>
                    <a:cubicBezTo>
                      <a:pt x="637" y="102"/>
                      <a:pt x="568" y="135"/>
                      <a:pt x="555" y="135"/>
                    </a:cubicBezTo>
                    <a:cubicBezTo>
                      <a:pt x="543" y="135"/>
                      <a:pt x="433" y="123"/>
                      <a:pt x="433" y="123"/>
                    </a:cubicBezTo>
                    <a:lnTo>
                      <a:pt x="381" y="79"/>
                    </a:lnTo>
                    <a:lnTo>
                      <a:pt x="339" y="67"/>
                    </a:lnTo>
                    <a:lnTo>
                      <a:pt x="312" y="83"/>
                    </a:lnTo>
                    <a:lnTo>
                      <a:pt x="284" y="70"/>
                    </a:lnTo>
                    <a:lnTo>
                      <a:pt x="220" y="0"/>
                    </a:lnTo>
                    <a:lnTo>
                      <a:pt x="178" y="4"/>
                    </a:lnTo>
                    <a:lnTo>
                      <a:pt x="111" y="23"/>
                    </a:lnTo>
                    <a:lnTo>
                      <a:pt x="33" y="58"/>
                    </a:lnTo>
                    <a:lnTo>
                      <a:pt x="0" y="74"/>
                    </a:lnTo>
                    <a:lnTo>
                      <a:pt x="1" y="87"/>
                    </a:lnTo>
                    <a:lnTo>
                      <a:pt x="6" y="134"/>
                    </a:lnTo>
                    <a:cubicBezTo>
                      <a:pt x="6" y="134"/>
                      <a:pt x="31" y="160"/>
                      <a:pt x="39" y="162"/>
                    </a:cubicBezTo>
                    <a:cubicBezTo>
                      <a:pt x="48" y="164"/>
                      <a:pt x="73" y="186"/>
                      <a:pt x="73" y="186"/>
                    </a:cubicBezTo>
                    <a:lnTo>
                      <a:pt x="102" y="234"/>
                    </a:lnTo>
                    <a:lnTo>
                      <a:pt x="125" y="265"/>
                    </a:lnTo>
                    <a:lnTo>
                      <a:pt x="129" y="311"/>
                    </a:lnTo>
                    <a:lnTo>
                      <a:pt x="139" y="326"/>
                    </a:lnTo>
                    <a:lnTo>
                      <a:pt x="197" y="337"/>
                    </a:lnTo>
                    <a:cubicBezTo>
                      <a:pt x="197" y="337"/>
                      <a:pt x="223" y="349"/>
                      <a:pt x="235" y="354"/>
                    </a:cubicBezTo>
                    <a:cubicBezTo>
                      <a:pt x="247" y="359"/>
                      <a:pt x="246" y="396"/>
                      <a:pt x="246" y="396"/>
                    </a:cubicBezTo>
                    <a:lnTo>
                      <a:pt x="277" y="398"/>
                    </a:lnTo>
                    <a:lnTo>
                      <a:pt x="298" y="426"/>
                    </a:lnTo>
                    <a:lnTo>
                      <a:pt x="359" y="491"/>
                    </a:lnTo>
                    <a:lnTo>
                      <a:pt x="366" y="538"/>
                    </a:lnTo>
                    <a:cubicBezTo>
                      <a:pt x="366" y="538"/>
                      <a:pt x="410" y="595"/>
                      <a:pt x="420" y="597"/>
                    </a:cubicBezTo>
                    <a:cubicBezTo>
                      <a:pt x="431" y="599"/>
                      <a:pt x="475" y="588"/>
                      <a:pt x="475" y="588"/>
                    </a:cubicBezTo>
                    <a:lnTo>
                      <a:pt x="539" y="573"/>
                    </a:lnTo>
                    <a:lnTo>
                      <a:pt x="553" y="553"/>
                    </a:lnTo>
                    <a:lnTo>
                      <a:pt x="580" y="543"/>
                    </a:lnTo>
                    <a:lnTo>
                      <a:pt x="599" y="557"/>
                    </a:lnTo>
                    <a:lnTo>
                      <a:pt x="625" y="569"/>
                    </a:lnTo>
                    <a:lnTo>
                      <a:pt x="653" y="555"/>
                    </a:lnTo>
                    <a:lnTo>
                      <a:pt x="684" y="557"/>
                    </a:lnTo>
                    <a:lnTo>
                      <a:pt x="700" y="547"/>
                    </a:lnTo>
                    <a:lnTo>
                      <a:pt x="742" y="550"/>
                    </a:lnTo>
                    <a:lnTo>
                      <a:pt x="842" y="550"/>
                    </a:lnTo>
                    <a:lnTo>
                      <a:pt x="877" y="561"/>
                    </a:lnTo>
                    <a:lnTo>
                      <a:pt x="894" y="56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190"/>
              <p:cNvSpPr>
                <a:spLocks/>
              </p:cNvSpPr>
              <p:nvPr/>
            </p:nvSpPr>
            <p:spPr bwMode="auto">
              <a:xfrm>
                <a:off x="4902766" y="5984851"/>
                <a:ext cx="79277" cy="113979"/>
              </a:xfrm>
              <a:custGeom>
                <a:avLst/>
                <a:gdLst>
                  <a:gd name="T0" fmla="*/ 2147483647 w 573"/>
                  <a:gd name="T1" fmla="*/ 2147483647 h 823"/>
                  <a:gd name="T2" fmla="*/ 2147483647 w 573"/>
                  <a:gd name="T3" fmla="*/ 2147483647 h 823"/>
                  <a:gd name="T4" fmla="*/ 2147483647 w 573"/>
                  <a:gd name="T5" fmla="*/ 2147483647 h 823"/>
                  <a:gd name="T6" fmla="*/ 2147483647 w 573"/>
                  <a:gd name="T7" fmla="*/ 2147483647 h 823"/>
                  <a:gd name="T8" fmla="*/ 2147483647 w 573"/>
                  <a:gd name="T9" fmla="*/ 2147483647 h 823"/>
                  <a:gd name="T10" fmla="*/ 2147483647 w 573"/>
                  <a:gd name="T11" fmla="*/ 2147483647 h 823"/>
                  <a:gd name="T12" fmla="*/ 2147483647 w 573"/>
                  <a:gd name="T13" fmla="*/ 2147483647 h 823"/>
                  <a:gd name="T14" fmla="*/ 2147483647 w 573"/>
                  <a:gd name="T15" fmla="*/ 2147483647 h 823"/>
                  <a:gd name="T16" fmla="*/ 2147483647 w 573"/>
                  <a:gd name="T17" fmla="*/ 2147483647 h 823"/>
                  <a:gd name="T18" fmla="*/ 2147483647 w 573"/>
                  <a:gd name="T19" fmla="*/ 2147483647 h 823"/>
                  <a:gd name="T20" fmla="*/ 2147483647 w 573"/>
                  <a:gd name="T21" fmla="*/ 2147483647 h 823"/>
                  <a:gd name="T22" fmla="*/ 2147483647 w 573"/>
                  <a:gd name="T23" fmla="*/ 2147483647 h 823"/>
                  <a:gd name="T24" fmla="*/ 2147483647 w 573"/>
                  <a:gd name="T25" fmla="*/ 2147483647 h 823"/>
                  <a:gd name="T26" fmla="*/ 2147483647 w 573"/>
                  <a:gd name="T27" fmla="*/ 2147483647 h 823"/>
                  <a:gd name="T28" fmla="*/ 2147483647 w 573"/>
                  <a:gd name="T29" fmla="*/ 2147483647 h 823"/>
                  <a:gd name="T30" fmla="*/ 2147483647 w 573"/>
                  <a:gd name="T31" fmla="*/ 2147483647 h 823"/>
                  <a:gd name="T32" fmla="*/ 2147483647 w 573"/>
                  <a:gd name="T33" fmla="*/ 2147483647 h 823"/>
                  <a:gd name="T34" fmla="*/ 2147483647 w 573"/>
                  <a:gd name="T35" fmla="*/ 2147483647 h 823"/>
                  <a:gd name="T36" fmla="*/ 2147483647 w 573"/>
                  <a:gd name="T37" fmla="*/ 2147483647 h 823"/>
                  <a:gd name="T38" fmla="*/ 2147483647 w 573"/>
                  <a:gd name="T39" fmla="*/ 2147483647 h 823"/>
                  <a:gd name="T40" fmla="*/ 2147483647 w 573"/>
                  <a:gd name="T41" fmla="*/ 2147483647 h 823"/>
                  <a:gd name="T42" fmla="*/ 2147483647 w 573"/>
                  <a:gd name="T43" fmla="*/ 2147483647 h 823"/>
                  <a:gd name="T44" fmla="*/ 2147483647 w 573"/>
                  <a:gd name="T45" fmla="*/ 2147483647 h 823"/>
                  <a:gd name="T46" fmla="*/ 2147483647 w 573"/>
                  <a:gd name="T47" fmla="*/ 2147483647 h 823"/>
                  <a:gd name="T48" fmla="*/ 2147483647 w 573"/>
                  <a:gd name="T49" fmla="*/ 2147483647 h 823"/>
                  <a:gd name="T50" fmla="*/ 2147483647 w 573"/>
                  <a:gd name="T51" fmla="*/ 2147483647 h 823"/>
                  <a:gd name="T52" fmla="*/ 2147483647 w 573"/>
                  <a:gd name="T53" fmla="*/ 2147483647 h 823"/>
                  <a:gd name="T54" fmla="*/ 2147483647 w 573"/>
                  <a:gd name="T55" fmla="*/ 2147483647 h 823"/>
                  <a:gd name="T56" fmla="*/ 2147483647 w 573"/>
                  <a:gd name="T57" fmla="*/ 2147483647 h 823"/>
                  <a:gd name="T58" fmla="*/ 2147483647 w 573"/>
                  <a:gd name="T59" fmla="*/ 2147483647 h 823"/>
                  <a:gd name="T60" fmla="*/ 2147483647 w 573"/>
                  <a:gd name="T61" fmla="*/ 2147483647 h 823"/>
                  <a:gd name="T62" fmla="*/ 2147483647 w 573"/>
                  <a:gd name="T63" fmla="*/ 2147483647 h 823"/>
                  <a:gd name="T64" fmla="*/ 2147483647 w 573"/>
                  <a:gd name="T65" fmla="*/ 2147483647 h 823"/>
                  <a:gd name="T66" fmla="*/ 0 w 573"/>
                  <a:gd name="T67" fmla="*/ 2147483647 h 823"/>
                  <a:gd name="T68" fmla="*/ 0 w 573"/>
                  <a:gd name="T69" fmla="*/ 2147483647 h 823"/>
                  <a:gd name="T70" fmla="*/ 2147483647 w 573"/>
                  <a:gd name="T71" fmla="*/ 2147483647 h 823"/>
                  <a:gd name="T72" fmla="*/ 2147483647 w 573"/>
                  <a:gd name="T73" fmla="*/ 2147483647 h 823"/>
                  <a:gd name="T74" fmla="*/ 2147483647 w 573"/>
                  <a:gd name="T75" fmla="*/ 2147483647 h 823"/>
                  <a:gd name="T76" fmla="*/ 2147483647 w 573"/>
                  <a:gd name="T77" fmla="*/ 2147483647 h 823"/>
                  <a:gd name="T78" fmla="*/ 2147483647 w 573"/>
                  <a:gd name="T79" fmla="*/ 2147483647 h 823"/>
                  <a:gd name="T80" fmla="*/ 2147483647 w 573"/>
                  <a:gd name="T81" fmla="*/ 2147483647 h 823"/>
                  <a:gd name="T82" fmla="*/ 2147483647 w 573"/>
                  <a:gd name="T83" fmla="*/ 2147483647 h 823"/>
                  <a:gd name="T84" fmla="*/ 2147483647 w 573"/>
                  <a:gd name="T85" fmla="*/ 2147483647 h 823"/>
                  <a:gd name="T86" fmla="*/ 2147483647 w 573"/>
                  <a:gd name="T87" fmla="*/ 2147483647 h 823"/>
                  <a:gd name="T88" fmla="*/ 2147483647 w 573"/>
                  <a:gd name="T89" fmla="*/ 2147483647 h 823"/>
                  <a:gd name="T90" fmla="*/ 2147483647 w 573"/>
                  <a:gd name="T91" fmla="*/ 2147483647 h 823"/>
                  <a:gd name="T92" fmla="*/ 2147483647 w 573"/>
                  <a:gd name="T93" fmla="*/ 2147483647 h 823"/>
                  <a:gd name="T94" fmla="*/ 2147483647 w 573"/>
                  <a:gd name="T95" fmla="*/ 2147483647 h 823"/>
                  <a:gd name="T96" fmla="*/ 2147483647 w 573"/>
                  <a:gd name="T97" fmla="*/ 2147483647 h 823"/>
                  <a:gd name="T98" fmla="*/ 2147483647 w 573"/>
                  <a:gd name="T99" fmla="*/ 2147483647 h 823"/>
                  <a:gd name="T100" fmla="*/ 2147483647 w 573"/>
                  <a:gd name="T101" fmla="*/ 2147483647 h 823"/>
                  <a:gd name="T102" fmla="*/ 2147483647 w 573"/>
                  <a:gd name="T103" fmla="*/ 2147483647 h 823"/>
                  <a:gd name="T104" fmla="*/ 2147483647 w 573"/>
                  <a:gd name="T105" fmla="*/ 2147483647 h 823"/>
                  <a:gd name="T106" fmla="*/ 2147483647 w 573"/>
                  <a:gd name="T107" fmla="*/ 2147483647 h 823"/>
                  <a:gd name="T108" fmla="*/ 2147483647 w 573"/>
                  <a:gd name="T109" fmla="*/ 2147483647 h 823"/>
                  <a:gd name="T110" fmla="*/ 2147483647 w 573"/>
                  <a:gd name="T111" fmla="*/ 0 h 823"/>
                  <a:gd name="T112" fmla="*/ 2147483647 w 573"/>
                  <a:gd name="T113" fmla="*/ 2147483647 h 823"/>
                  <a:gd name="T114" fmla="*/ 2147483647 w 573"/>
                  <a:gd name="T115" fmla="*/ 2147483647 h 823"/>
                  <a:gd name="T116" fmla="*/ 2147483647 w 573"/>
                  <a:gd name="T117" fmla="*/ 2147483647 h 823"/>
                  <a:gd name="T118" fmla="*/ 2147483647 w 573"/>
                  <a:gd name="T119" fmla="*/ 2147483647 h 823"/>
                  <a:gd name="T120" fmla="*/ 2147483647 w 573"/>
                  <a:gd name="T121" fmla="*/ 2147483647 h 82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573" h="823">
                    <a:moveTo>
                      <a:pt x="495" y="64"/>
                    </a:moveTo>
                    <a:lnTo>
                      <a:pt x="507" y="100"/>
                    </a:lnTo>
                    <a:lnTo>
                      <a:pt x="519" y="162"/>
                    </a:lnTo>
                    <a:lnTo>
                      <a:pt x="534" y="201"/>
                    </a:lnTo>
                    <a:lnTo>
                      <a:pt x="521" y="252"/>
                    </a:lnTo>
                    <a:lnTo>
                      <a:pt x="497" y="281"/>
                    </a:lnTo>
                    <a:lnTo>
                      <a:pt x="497" y="312"/>
                    </a:lnTo>
                    <a:lnTo>
                      <a:pt x="521" y="343"/>
                    </a:lnTo>
                    <a:lnTo>
                      <a:pt x="517" y="372"/>
                    </a:lnTo>
                    <a:lnTo>
                      <a:pt x="507" y="422"/>
                    </a:lnTo>
                    <a:lnTo>
                      <a:pt x="486" y="451"/>
                    </a:lnTo>
                    <a:lnTo>
                      <a:pt x="499" y="481"/>
                    </a:lnTo>
                    <a:lnTo>
                      <a:pt x="534" y="496"/>
                    </a:lnTo>
                    <a:lnTo>
                      <a:pt x="523" y="531"/>
                    </a:lnTo>
                    <a:lnTo>
                      <a:pt x="530" y="574"/>
                    </a:lnTo>
                    <a:lnTo>
                      <a:pt x="519" y="601"/>
                    </a:lnTo>
                    <a:lnTo>
                      <a:pt x="480" y="626"/>
                    </a:lnTo>
                    <a:lnTo>
                      <a:pt x="474" y="665"/>
                    </a:lnTo>
                    <a:lnTo>
                      <a:pt x="490" y="709"/>
                    </a:lnTo>
                    <a:lnTo>
                      <a:pt x="530" y="735"/>
                    </a:lnTo>
                    <a:lnTo>
                      <a:pt x="573" y="750"/>
                    </a:lnTo>
                    <a:lnTo>
                      <a:pt x="573" y="791"/>
                    </a:lnTo>
                    <a:lnTo>
                      <a:pt x="551" y="823"/>
                    </a:lnTo>
                    <a:cubicBezTo>
                      <a:pt x="551" y="823"/>
                      <a:pt x="544" y="795"/>
                      <a:pt x="533" y="792"/>
                    </a:cubicBezTo>
                    <a:cubicBezTo>
                      <a:pt x="523" y="788"/>
                      <a:pt x="470" y="787"/>
                      <a:pt x="470" y="787"/>
                    </a:cubicBezTo>
                    <a:lnTo>
                      <a:pt x="415" y="785"/>
                    </a:lnTo>
                    <a:lnTo>
                      <a:pt x="374" y="755"/>
                    </a:lnTo>
                    <a:cubicBezTo>
                      <a:pt x="374" y="755"/>
                      <a:pt x="308" y="748"/>
                      <a:pt x="296" y="747"/>
                    </a:cubicBezTo>
                    <a:cubicBezTo>
                      <a:pt x="283" y="745"/>
                      <a:pt x="212" y="703"/>
                      <a:pt x="203" y="703"/>
                    </a:cubicBezTo>
                    <a:cubicBezTo>
                      <a:pt x="194" y="703"/>
                      <a:pt x="177" y="694"/>
                      <a:pt x="177" y="694"/>
                    </a:cubicBezTo>
                    <a:lnTo>
                      <a:pt x="168" y="666"/>
                    </a:lnTo>
                    <a:lnTo>
                      <a:pt x="63" y="577"/>
                    </a:lnTo>
                    <a:lnTo>
                      <a:pt x="18" y="526"/>
                    </a:lnTo>
                    <a:lnTo>
                      <a:pt x="0" y="525"/>
                    </a:lnTo>
                    <a:lnTo>
                      <a:pt x="3" y="504"/>
                    </a:lnTo>
                    <a:lnTo>
                      <a:pt x="28" y="490"/>
                    </a:lnTo>
                    <a:lnTo>
                      <a:pt x="24" y="457"/>
                    </a:lnTo>
                    <a:lnTo>
                      <a:pt x="42" y="432"/>
                    </a:lnTo>
                    <a:lnTo>
                      <a:pt x="32" y="403"/>
                    </a:lnTo>
                    <a:lnTo>
                      <a:pt x="26" y="362"/>
                    </a:lnTo>
                    <a:lnTo>
                      <a:pt x="43" y="322"/>
                    </a:lnTo>
                    <a:lnTo>
                      <a:pt x="96" y="298"/>
                    </a:lnTo>
                    <a:lnTo>
                      <a:pt x="125" y="285"/>
                    </a:lnTo>
                    <a:lnTo>
                      <a:pt x="123" y="256"/>
                    </a:lnTo>
                    <a:lnTo>
                      <a:pt x="84" y="236"/>
                    </a:lnTo>
                    <a:lnTo>
                      <a:pt x="69" y="207"/>
                    </a:lnTo>
                    <a:lnTo>
                      <a:pt x="22" y="168"/>
                    </a:lnTo>
                    <a:lnTo>
                      <a:pt x="22" y="147"/>
                    </a:lnTo>
                    <a:lnTo>
                      <a:pt x="23" y="118"/>
                    </a:lnTo>
                    <a:lnTo>
                      <a:pt x="99" y="116"/>
                    </a:lnTo>
                    <a:lnTo>
                      <a:pt x="162" y="123"/>
                    </a:lnTo>
                    <a:lnTo>
                      <a:pt x="208" y="115"/>
                    </a:lnTo>
                    <a:lnTo>
                      <a:pt x="274" y="62"/>
                    </a:lnTo>
                    <a:lnTo>
                      <a:pt x="334" y="59"/>
                    </a:lnTo>
                    <a:lnTo>
                      <a:pt x="362" y="28"/>
                    </a:lnTo>
                    <a:cubicBezTo>
                      <a:pt x="362" y="28"/>
                      <a:pt x="370" y="0"/>
                      <a:pt x="382" y="0"/>
                    </a:cubicBezTo>
                    <a:cubicBezTo>
                      <a:pt x="393" y="0"/>
                      <a:pt x="396" y="20"/>
                      <a:pt x="396" y="20"/>
                    </a:cubicBezTo>
                    <a:lnTo>
                      <a:pt x="417" y="25"/>
                    </a:lnTo>
                    <a:lnTo>
                      <a:pt x="446" y="46"/>
                    </a:lnTo>
                    <a:lnTo>
                      <a:pt x="480" y="68"/>
                    </a:lnTo>
                    <a:lnTo>
                      <a:pt x="495" y="64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191"/>
              <p:cNvSpPr>
                <a:spLocks/>
              </p:cNvSpPr>
              <p:nvPr/>
            </p:nvSpPr>
            <p:spPr bwMode="auto">
              <a:xfrm>
                <a:off x="4952314" y="5898954"/>
                <a:ext cx="153600" cy="155276"/>
              </a:xfrm>
              <a:custGeom>
                <a:avLst/>
                <a:gdLst>
                  <a:gd name="T0" fmla="*/ 2147483647 w 1101"/>
                  <a:gd name="T1" fmla="*/ 2147483647 h 1105"/>
                  <a:gd name="T2" fmla="*/ 2147483647 w 1101"/>
                  <a:gd name="T3" fmla="*/ 2147483647 h 1105"/>
                  <a:gd name="T4" fmla="*/ 2147483647 w 1101"/>
                  <a:gd name="T5" fmla="*/ 2147483647 h 1105"/>
                  <a:gd name="T6" fmla="*/ 2147483647 w 1101"/>
                  <a:gd name="T7" fmla="*/ 2147483647 h 1105"/>
                  <a:gd name="T8" fmla="*/ 2147483647 w 1101"/>
                  <a:gd name="T9" fmla="*/ 2147483647 h 1105"/>
                  <a:gd name="T10" fmla="*/ 2147483647 w 1101"/>
                  <a:gd name="T11" fmla="*/ 2147483647 h 1105"/>
                  <a:gd name="T12" fmla="*/ 2147483647 w 1101"/>
                  <a:gd name="T13" fmla="*/ 2147483647 h 1105"/>
                  <a:gd name="T14" fmla="*/ 2147483647 w 1101"/>
                  <a:gd name="T15" fmla="*/ 2147483647 h 1105"/>
                  <a:gd name="T16" fmla="*/ 2147483647 w 1101"/>
                  <a:gd name="T17" fmla="*/ 2147483647 h 1105"/>
                  <a:gd name="T18" fmla="*/ 2147483647 w 1101"/>
                  <a:gd name="T19" fmla="*/ 2147483647 h 1105"/>
                  <a:gd name="T20" fmla="*/ 2147483647 w 1101"/>
                  <a:gd name="T21" fmla="*/ 2147483647 h 1105"/>
                  <a:gd name="T22" fmla="*/ 2147483647 w 1101"/>
                  <a:gd name="T23" fmla="*/ 2147483647 h 1105"/>
                  <a:gd name="T24" fmla="*/ 2147483647 w 1101"/>
                  <a:gd name="T25" fmla="*/ 2147483647 h 1105"/>
                  <a:gd name="T26" fmla="*/ 2147483647 w 1101"/>
                  <a:gd name="T27" fmla="*/ 2147483647 h 1105"/>
                  <a:gd name="T28" fmla="*/ 2147483647 w 1101"/>
                  <a:gd name="T29" fmla="*/ 2147483647 h 1105"/>
                  <a:gd name="T30" fmla="*/ 2147483647 w 1101"/>
                  <a:gd name="T31" fmla="*/ 2147483647 h 1105"/>
                  <a:gd name="T32" fmla="*/ 2147483647 w 1101"/>
                  <a:gd name="T33" fmla="*/ 2147483647 h 1105"/>
                  <a:gd name="T34" fmla="*/ 2147483647 w 1101"/>
                  <a:gd name="T35" fmla="*/ 2147483647 h 1105"/>
                  <a:gd name="T36" fmla="*/ 2147483647 w 1101"/>
                  <a:gd name="T37" fmla="*/ 2147483647 h 1105"/>
                  <a:gd name="T38" fmla="*/ 2147483647 w 1101"/>
                  <a:gd name="T39" fmla="*/ 2147483647 h 1105"/>
                  <a:gd name="T40" fmla="*/ 2147483647 w 1101"/>
                  <a:gd name="T41" fmla="*/ 2147483647 h 1105"/>
                  <a:gd name="T42" fmla="*/ 2147483647 w 1101"/>
                  <a:gd name="T43" fmla="*/ 2147483647 h 1105"/>
                  <a:gd name="T44" fmla="*/ 2147483647 w 1101"/>
                  <a:gd name="T45" fmla="*/ 2147483647 h 1105"/>
                  <a:gd name="T46" fmla="*/ 2147483647 w 1101"/>
                  <a:gd name="T47" fmla="*/ 2147483647 h 1105"/>
                  <a:gd name="T48" fmla="*/ 2147483647 w 1101"/>
                  <a:gd name="T49" fmla="*/ 2147483647 h 1105"/>
                  <a:gd name="T50" fmla="*/ 2147483647 w 1101"/>
                  <a:gd name="T51" fmla="*/ 2147483647 h 1105"/>
                  <a:gd name="T52" fmla="*/ 2147483647 w 1101"/>
                  <a:gd name="T53" fmla="*/ 2147483647 h 1105"/>
                  <a:gd name="T54" fmla="*/ 2147483647 w 1101"/>
                  <a:gd name="T55" fmla="*/ 2147483647 h 1105"/>
                  <a:gd name="T56" fmla="*/ 2147483647 w 1101"/>
                  <a:gd name="T57" fmla="*/ 2147483647 h 1105"/>
                  <a:gd name="T58" fmla="*/ 2147483647 w 1101"/>
                  <a:gd name="T59" fmla="*/ 2147483647 h 1105"/>
                  <a:gd name="T60" fmla="*/ 2147483647 w 1101"/>
                  <a:gd name="T61" fmla="*/ 2147483647 h 1105"/>
                  <a:gd name="T62" fmla="*/ 2147483647 w 1101"/>
                  <a:gd name="T63" fmla="*/ 2147483647 h 1105"/>
                  <a:gd name="T64" fmla="*/ 0 w 1101"/>
                  <a:gd name="T65" fmla="*/ 2147483647 h 1105"/>
                  <a:gd name="T66" fmla="*/ 2147483647 w 1101"/>
                  <a:gd name="T67" fmla="*/ 2147483647 h 1105"/>
                  <a:gd name="T68" fmla="*/ 2147483647 w 1101"/>
                  <a:gd name="T69" fmla="*/ 2147483647 h 1105"/>
                  <a:gd name="T70" fmla="*/ 2147483647 w 1101"/>
                  <a:gd name="T71" fmla="*/ 2147483647 h 1105"/>
                  <a:gd name="T72" fmla="*/ 2147483647 w 1101"/>
                  <a:gd name="T73" fmla="*/ 2147483647 h 1105"/>
                  <a:gd name="T74" fmla="*/ 2147483647 w 1101"/>
                  <a:gd name="T75" fmla="*/ 2147483647 h 1105"/>
                  <a:gd name="T76" fmla="*/ 2147483647 w 1101"/>
                  <a:gd name="T77" fmla="*/ 2147483647 h 1105"/>
                  <a:gd name="T78" fmla="*/ 2147483647 w 1101"/>
                  <a:gd name="T79" fmla="*/ 2147483647 h 1105"/>
                  <a:gd name="T80" fmla="*/ 2147483647 w 1101"/>
                  <a:gd name="T81" fmla="*/ 2147483647 h 1105"/>
                  <a:gd name="T82" fmla="*/ 2147483647 w 1101"/>
                  <a:gd name="T83" fmla="*/ 2147483647 h 1105"/>
                  <a:gd name="T84" fmla="*/ 2147483647 w 1101"/>
                  <a:gd name="T85" fmla="*/ 2147483647 h 1105"/>
                  <a:gd name="T86" fmla="*/ 2147483647 w 1101"/>
                  <a:gd name="T87" fmla="*/ 2147483647 h 1105"/>
                  <a:gd name="T88" fmla="*/ 2147483647 w 1101"/>
                  <a:gd name="T89" fmla="*/ 2147483647 h 1105"/>
                  <a:gd name="T90" fmla="*/ 2147483647 w 1101"/>
                  <a:gd name="T91" fmla="*/ 0 h 1105"/>
                  <a:gd name="T92" fmla="*/ 2147483647 w 1101"/>
                  <a:gd name="T93" fmla="*/ 2147483647 h 1105"/>
                  <a:gd name="T94" fmla="*/ 2147483647 w 1101"/>
                  <a:gd name="T95" fmla="*/ 2147483647 h 1105"/>
                  <a:gd name="T96" fmla="*/ 2147483647 w 1101"/>
                  <a:gd name="T97" fmla="*/ 2147483647 h 110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101" h="1105">
                    <a:moveTo>
                      <a:pt x="1079" y="241"/>
                    </a:moveTo>
                    <a:lnTo>
                      <a:pt x="1076" y="305"/>
                    </a:lnTo>
                    <a:lnTo>
                      <a:pt x="1041" y="333"/>
                    </a:lnTo>
                    <a:lnTo>
                      <a:pt x="1008" y="337"/>
                    </a:lnTo>
                    <a:lnTo>
                      <a:pt x="996" y="370"/>
                    </a:lnTo>
                    <a:lnTo>
                      <a:pt x="982" y="400"/>
                    </a:lnTo>
                    <a:lnTo>
                      <a:pt x="926" y="430"/>
                    </a:lnTo>
                    <a:lnTo>
                      <a:pt x="924" y="472"/>
                    </a:lnTo>
                    <a:lnTo>
                      <a:pt x="952" y="505"/>
                    </a:lnTo>
                    <a:lnTo>
                      <a:pt x="950" y="552"/>
                    </a:lnTo>
                    <a:lnTo>
                      <a:pt x="938" y="587"/>
                    </a:lnTo>
                    <a:lnTo>
                      <a:pt x="912" y="626"/>
                    </a:lnTo>
                    <a:lnTo>
                      <a:pt x="915" y="671"/>
                    </a:lnTo>
                    <a:cubicBezTo>
                      <a:pt x="891" y="675"/>
                      <a:pt x="863" y="733"/>
                      <a:pt x="863" y="733"/>
                    </a:cubicBezTo>
                    <a:lnTo>
                      <a:pt x="849" y="773"/>
                    </a:lnTo>
                    <a:lnTo>
                      <a:pt x="812" y="794"/>
                    </a:lnTo>
                    <a:lnTo>
                      <a:pt x="773" y="820"/>
                    </a:lnTo>
                    <a:lnTo>
                      <a:pt x="768" y="869"/>
                    </a:lnTo>
                    <a:lnTo>
                      <a:pt x="735" y="899"/>
                    </a:lnTo>
                    <a:lnTo>
                      <a:pt x="714" y="930"/>
                    </a:lnTo>
                    <a:lnTo>
                      <a:pt x="713" y="928"/>
                    </a:lnTo>
                    <a:lnTo>
                      <a:pt x="639" y="932"/>
                    </a:lnTo>
                    <a:lnTo>
                      <a:pt x="588" y="973"/>
                    </a:lnTo>
                    <a:lnTo>
                      <a:pt x="530" y="1002"/>
                    </a:lnTo>
                    <a:lnTo>
                      <a:pt x="500" y="990"/>
                    </a:lnTo>
                    <a:lnTo>
                      <a:pt x="481" y="964"/>
                    </a:lnTo>
                    <a:lnTo>
                      <a:pt x="435" y="969"/>
                    </a:lnTo>
                    <a:lnTo>
                      <a:pt x="381" y="999"/>
                    </a:lnTo>
                    <a:lnTo>
                      <a:pt x="372" y="1032"/>
                    </a:lnTo>
                    <a:lnTo>
                      <a:pt x="316" y="1074"/>
                    </a:lnTo>
                    <a:lnTo>
                      <a:pt x="271" y="1069"/>
                    </a:lnTo>
                    <a:lnTo>
                      <a:pt x="222" y="1055"/>
                    </a:lnTo>
                    <a:lnTo>
                      <a:pt x="197" y="1071"/>
                    </a:lnTo>
                    <a:lnTo>
                      <a:pt x="183" y="1105"/>
                    </a:lnTo>
                    <a:lnTo>
                      <a:pt x="179" y="1103"/>
                    </a:lnTo>
                    <a:lnTo>
                      <a:pt x="144" y="1088"/>
                    </a:lnTo>
                    <a:lnTo>
                      <a:pt x="131" y="1058"/>
                    </a:lnTo>
                    <a:lnTo>
                      <a:pt x="152" y="1029"/>
                    </a:lnTo>
                    <a:lnTo>
                      <a:pt x="162" y="979"/>
                    </a:lnTo>
                    <a:lnTo>
                      <a:pt x="166" y="950"/>
                    </a:lnTo>
                    <a:lnTo>
                      <a:pt x="142" y="919"/>
                    </a:lnTo>
                    <a:lnTo>
                      <a:pt x="142" y="888"/>
                    </a:lnTo>
                    <a:lnTo>
                      <a:pt x="166" y="859"/>
                    </a:lnTo>
                    <a:lnTo>
                      <a:pt x="179" y="808"/>
                    </a:lnTo>
                    <a:lnTo>
                      <a:pt x="164" y="769"/>
                    </a:lnTo>
                    <a:lnTo>
                      <a:pt x="152" y="707"/>
                    </a:lnTo>
                    <a:lnTo>
                      <a:pt x="140" y="671"/>
                    </a:lnTo>
                    <a:lnTo>
                      <a:pt x="146" y="662"/>
                    </a:lnTo>
                    <a:lnTo>
                      <a:pt x="161" y="631"/>
                    </a:lnTo>
                    <a:lnTo>
                      <a:pt x="155" y="554"/>
                    </a:lnTo>
                    <a:lnTo>
                      <a:pt x="136" y="536"/>
                    </a:lnTo>
                    <a:lnTo>
                      <a:pt x="118" y="518"/>
                    </a:lnTo>
                    <a:lnTo>
                      <a:pt x="119" y="487"/>
                    </a:lnTo>
                    <a:lnTo>
                      <a:pt x="112" y="462"/>
                    </a:lnTo>
                    <a:lnTo>
                      <a:pt x="97" y="425"/>
                    </a:lnTo>
                    <a:lnTo>
                      <a:pt x="92" y="399"/>
                    </a:lnTo>
                    <a:lnTo>
                      <a:pt x="94" y="360"/>
                    </a:lnTo>
                    <a:cubicBezTo>
                      <a:pt x="94" y="360"/>
                      <a:pt x="94" y="341"/>
                      <a:pt x="90" y="333"/>
                    </a:cubicBezTo>
                    <a:cubicBezTo>
                      <a:pt x="85" y="325"/>
                      <a:pt x="69" y="329"/>
                      <a:pt x="69" y="329"/>
                    </a:cubicBezTo>
                    <a:lnTo>
                      <a:pt x="49" y="312"/>
                    </a:lnTo>
                    <a:lnTo>
                      <a:pt x="49" y="264"/>
                    </a:lnTo>
                    <a:lnTo>
                      <a:pt x="29" y="248"/>
                    </a:lnTo>
                    <a:lnTo>
                      <a:pt x="0" y="232"/>
                    </a:lnTo>
                    <a:lnTo>
                      <a:pt x="0" y="213"/>
                    </a:lnTo>
                    <a:lnTo>
                      <a:pt x="37" y="213"/>
                    </a:lnTo>
                    <a:lnTo>
                      <a:pt x="59" y="237"/>
                    </a:lnTo>
                    <a:lnTo>
                      <a:pt x="92" y="244"/>
                    </a:lnTo>
                    <a:lnTo>
                      <a:pt x="132" y="237"/>
                    </a:lnTo>
                    <a:lnTo>
                      <a:pt x="173" y="237"/>
                    </a:lnTo>
                    <a:lnTo>
                      <a:pt x="199" y="270"/>
                    </a:lnTo>
                    <a:lnTo>
                      <a:pt x="241" y="270"/>
                    </a:lnTo>
                    <a:lnTo>
                      <a:pt x="289" y="309"/>
                    </a:lnTo>
                    <a:lnTo>
                      <a:pt x="327" y="309"/>
                    </a:lnTo>
                    <a:lnTo>
                      <a:pt x="358" y="308"/>
                    </a:lnTo>
                    <a:lnTo>
                      <a:pt x="382" y="330"/>
                    </a:lnTo>
                    <a:lnTo>
                      <a:pt x="412" y="323"/>
                    </a:lnTo>
                    <a:lnTo>
                      <a:pt x="439" y="271"/>
                    </a:lnTo>
                    <a:lnTo>
                      <a:pt x="489" y="261"/>
                    </a:lnTo>
                    <a:cubicBezTo>
                      <a:pt x="489" y="261"/>
                      <a:pt x="527" y="268"/>
                      <a:pt x="543" y="268"/>
                    </a:cubicBezTo>
                    <a:cubicBezTo>
                      <a:pt x="559" y="268"/>
                      <a:pt x="576" y="273"/>
                      <a:pt x="614" y="254"/>
                    </a:cubicBezTo>
                    <a:cubicBezTo>
                      <a:pt x="652" y="235"/>
                      <a:pt x="628" y="227"/>
                      <a:pt x="659" y="216"/>
                    </a:cubicBezTo>
                    <a:cubicBezTo>
                      <a:pt x="690" y="206"/>
                      <a:pt x="697" y="237"/>
                      <a:pt x="714" y="233"/>
                    </a:cubicBezTo>
                    <a:cubicBezTo>
                      <a:pt x="731" y="230"/>
                      <a:pt x="787" y="175"/>
                      <a:pt x="787" y="175"/>
                    </a:cubicBezTo>
                    <a:lnTo>
                      <a:pt x="818" y="166"/>
                    </a:lnTo>
                    <a:cubicBezTo>
                      <a:pt x="818" y="166"/>
                      <a:pt x="849" y="145"/>
                      <a:pt x="878" y="128"/>
                    </a:cubicBezTo>
                    <a:cubicBezTo>
                      <a:pt x="908" y="111"/>
                      <a:pt x="975" y="81"/>
                      <a:pt x="975" y="81"/>
                    </a:cubicBezTo>
                    <a:lnTo>
                      <a:pt x="1032" y="47"/>
                    </a:lnTo>
                    <a:lnTo>
                      <a:pt x="1051" y="19"/>
                    </a:lnTo>
                    <a:lnTo>
                      <a:pt x="1083" y="0"/>
                    </a:lnTo>
                    <a:lnTo>
                      <a:pt x="1101" y="56"/>
                    </a:lnTo>
                    <a:lnTo>
                      <a:pt x="1096" y="102"/>
                    </a:lnTo>
                    <a:lnTo>
                      <a:pt x="1098" y="152"/>
                    </a:lnTo>
                    <a:lnTo>
                      <a:pt x="1077" y="186"/>
                    </a:lnTo>
                    <a:lnTo>
                      <a:pt x="1079" y="24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192"/>
              <p:cNvSpPr>
                <a:spLocks/>
              </p:cNvSpPr>
              <p:nvPr/>
            </p:nvSpPr>
            <p:spPr bwMode="auto">
              <a:xfrm>
                <a:off x="4968830" y="6029452"/>
                <a:ext cx="105703" cy="80942"/>
              </a:xfrm>
              <a:custGeom>
                <a:avLst/>
                <a:gdLst>
                  <a:gd name="T0" fmla="*/ 2147483647 w 755"/>
                  <a:gd name="T1" fmla="*/ 2147483647 h 578"/>
                  <a:gd name="T2" fmla="*/ 2147483647 w 755"/>
                  <a:gd name="T3" fmla="*/ 2147483647 h 578"/>
                  <a:gd name="T4" fmla="*/ 2147483647 w 755"/>
                  <a:gd name="T5" fmla="*/ 2147483647 h 578"/>
                  <a:gd name="T6" fmla="*/ 2147483647 w 755"/>
                  <a:gd name="T7" fmla="*/ 2147483647 h 578"/>
                  <a:gd name="T8" fmla="*/ 2147483647 w 755"/>
                  <a:gd name="T9" fmla="*/ 2147483647 h 578"/>
                  <a:gd name="T10" fmla="*/ 2147483647 w 755"/>
                  <a:gd name="T11" fmla="*/ 2147483647 h 578"/>
                  <a:gd name="T12" fmla="*/ 2147483647 w 755"/>
                  <a:gd name="T13" fmla="*/ 2147483647 h 578"/>
                  <a:gd name="T14" fmla="*/ 2147483647 w 755"/>
                  <a:gd name="T15" fmla="*/ 2147483647 h 578"/>
                  <a:gd name="T16" fmla="*/ 2147483647 w 755"/>
                  <a:gd name="T17" fmla="*/ 0 h 578"/>
                  <a:gd name="T18" fmla="*/ 2147483647 w 755"/>
                  <a:gd name="T19" fmla="*/ 0 h 578"/>
                  <a:gd name="T20" fmla="*/ 2147483647 w 755"/>
                  <a:gd name="T21" fmla="*/ 2147483647 h 578"/>
                  <a:gd name="T22" fmla="*/ 2147483647 w 755"/>
                  <a:gd name="T23" fmla="*/ 2147483647 h 578"/>
                  <a:gd name="T24" fmla="*/ 2147483647 w 755"/>
                  <a:gd name="T25" fmla="*/ 2147483647 h 578"/>
                  <a:gd name="T26" fmla="*/ 2147483647 w 755"/>
                  <a:gd name="T27" fmla="*/ 2147483647 h 578"/>
                  <a:gd name="T28" fmla="*/ 2147483647 w 755"/>
                  <a:gd name="T29" fmla="*/ 2147483647 h 578"/>
                  <a:gd name="T30" fmla="*/ 2147483647 w 755"/>
                  <a:gd name="T31" fmla="*/ 2147483647 h 578"/>
                  <a:gd name="T32" fmla="*/ 2147483647 w 755"/>
                  <a:gd name="T33" fmla="*/ 2147483647 h 578"/>
                  <a:gd name="T34" fmla="*/ 2147483647 w 755"/>
                  <a:gd name="T35" fmla="*/ 2147483647 h 578"/>
                  <a:gd name="T36" fmla="*/ 2147483647 w 755"/>
                  <a:gd name="T37" fmla="*/ 2147483647 h 578"/>
                  <a:gd name="T38" fmla="*/ 2147483647 w 755"/>
                  <a:gd name="T39" fmla="*/ 2147483647 h 578"/>
                  <a:gd name="T40" fmla="*/ 2147483647 w 755"/>
                  <a:gd name="T41" fmla="*/ 2147483647 h 578"/>
                  <a:gd name="T42" fmla="*/ 2147483647 w 755"/>
                  <a:gd name="T43" fmla="*/ 2147483647 h 578"/>
                  <a:gd name="T44" fmla="*/ 2147483647 w 755"/>
                  <a:gd name="T45" fmla="*/ 2147483647 h 578"/>
                  <a:gd name="T46" fmla="*/ 2147483647 w 755"/>
                  <a:gd name="T47" fmla="*/ 2147483647 h 578"/>
                  <a:gd name="T48" fmla="*/ 2147483647 w 755"/>
                  <a:gd name="T49" fmla="*/ 2147483647 h 578"/>
                  <a:gd name="T50" fmla="*/ 2147483647 w 755"/>
                  <a:gd name="T51" fmla="*/ 2147483647 h 578"/>
                  <a:gd name="T52" fmla="*/ 2147483647 w 755"/>
                  <a:gd name="T53" fmla="*/ 2147483647 h 578"/>
                  <a:gd name="T54" fmla="*/ 0 w 755"/>
                  <a:gd name="T55" fmla="*/ 2147483647 h 578"/>
                  <a:gd name="T56" fmla="*/ 2147483647 w 755"/>
                  <a:gd name="T57" fmla="*/ 2147483647 h 578"/>
                  <a:gd name="T58" fmla="*/ 2147483647 w 755"/>
                  <a:gd name="T59" fmla="*/ 2147483647 h 578"/>
                  <a:gd name="T60" fmla="*/ 2147483647 w 755"/>
                  <a:gd name="T61" fmla="*/ 2147483647 h 578"/>
                  <a:gd name="T62" fmla="*/ 2147483647 w 755"/>
                  <a:gd name="T63" fmla="*/ 2147483647 h 578"/>
                  <a:gd name="T64" fmla="*/ 2147483647 w 755"/>
                  <a:gd name="T65" fmla="*/ 2147483647 h 578"/>
                  <a:gd name="T66" fmla="*/ 2147483647 w 755"/>
                  <a:gd name="T67" fmla="*/ 2147483647 h 578"/>
                  <a:gd name="T68" fmla="*/ 2147483647 w 755"/>
                  <a:gd name="T69" fmla="*/ 2147483647 h 578"/>
                  <a:gd name="T70" fmla="*/ 2147483647 w 755"/>
                  <a:gd name="T71" fmla="*/ 2147483647 h 578"/>
                  <a:gd name="T72" fmla="*/ 2147483647 w 755"/>
                  <a:gd name="T73" fmla="*/ 2147483647 h 578"/>
                  <a:gd name="T74" fmla="*/ 2147483647 w 755"/>
                  <a:gd name="T75" fmla="*/ 2147483647 h 578"/>
                  <a:gd name="T76" fmla="*/ 2147483647 w 755"/>
                  <a:gd name="T77" fmla="*/ 2147483647 h 578"/>
                  <a:gd name="T78" fmla="*/ 2147483647 w 755"/>
                  <a:gd name="T79" fmla="*/ 2147483647 h 578"/>
                  <a:gd name="T80" fmla="*/ 2147483647 w 755"/>
                  <a:gd name="T81" fmla="*/ 2147483647 h 578"/>
                  <a:gd name="T82" fmla="*/ 2147483647 w 755"/>
                  <a:gd name="T83" fmla="*/ 2147483647 h 578"/>
                  <a:gd name="T84" fmla="*/ 2147483647 w 755"/>
                  <a:gd name="T85" fmla="*/ 2147483647 h 578"/>
                  <a:gd name="T86" fmla="*/ 2147483647 w 755"/>
                  <a:gd name="T87" fmla="*/ 2147483647 h 578"/>
                  <a:gd name="T88" fmla="*/ 2147483647 w 755"/>
                  <a:gd name="T89" fmla="*/ 2147483647 h 578"/>
                  <a:gd name="T90" fmla="*/ 2147483647 w 755"/>
                  <a:gd name="T91" fmla="*/ 2147483647 h 578"/>
                  <a:gd name="T92" fmla="*/ 2147483647 w 755"/>
                  <a:gd name="T93" fmla="*/ 2147483647 h 578"/>
                  <a:gd name="T94" fmla="*/ 2147483647 w 755"/>
                  <a:gd name="T95" fmla="*/ 2147483647 h 578"/>
                  <a:gd name="T96" fmla="*/ 2147483647 w 755"/>
                  <a:gd name="T97" fmla="*/ 2147483647 h 578"/>
                  <a:gd name="T98" fmla="*/ 2147483647 w 755"/>
                  <a:gd name="T99" fmla="*/ 2147483647 h 57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755" h="578">
                    <a:moveTo>
                      <a:pt x="755" y="501"/>
                    </a:moveTo>
                    <a:lnTo>
                      <a:pt x="723" y="470"/>
                    </a:lnTo>
                    <a:lnTo>
                      <a:pt x="723" y="439"/>
                    </a:lnTo>
                    <a:lnTo>
                      <a:pt x="698" y="381"/>
                    </a:lnTo>
                    <a:lnTo>
                      <a:pt x="691" y="302"/>
                    </a:lnTo>
                    <a:lnTo>
                      <a:pt x="647" y="244"/>
                    </a:lnTo>
                    <a:lnTo>
                      <a:pt x="647" y="148"/>
                    </a:lnTo>
                    <a:lnTo>
                      <a:pt x="617" y="71"/>
                    </a:lnTo>
                    <a:cubicBezTo>
                      <a:pt x="617" y="71"/>
                      <a:pt x="607" y="27"/>
                      <a:pt x="594" y="0"/>
                    </a:cubicBezTo>
                    <a:lnTo>
                      <a:pt x="520" y="4"/>
                    </a:lnTo>
                    <a:lnTo>
                      <a:pt x="469" y="45"/>
                    </a:lnTo>
                    <a:lnTo>
                      <a:pt x="411" y="74"/>
                    </a:lnTo>
                    <a:lnTo>
                      <a:pt x="381" y="62"/>
                    </a:lnTo>
                    <a:lnTo>
                      <a:pt x="362" y="36"/>
                    </a:lnTo>
                    <a:lnTo>
                      <a:pt x="316" y="41"/>
                    </a:lnTo>
                    <a:lnTo>
                      <a:pt x="262" y="71"/>
                    </a:lnTo>
                    <a:lnTo>
                      <a:pt x="253" y="104"/>
                    </a:lnTo>
                    <a:lnTo>
                      <a:pt x="197" y="146"/>
                    </a:lnTo>
                    <a:lnTo>
                      <a:pt x="152" y="141"/>
                    </a:lnTo>
                    <a:lnTo>
                      <a:pt x="103" y="127"/>
                    </a:lnTo>
                    <a:lnTo>
                      <a:pt x="78" y="143"/>
                    </a:lnTo>
                    <a:lnTo>
                      <a:pt x="64" y="177"/>
                    </a:lnTo>
                    <a:lnTo>
                      <a:pt x="59" y="180"/>
                    </a:lnTo>
                    <a:lnTo>
                      <a:pt x="49" y="210"/>
                    </a:lnTo>
                    <a:lnTo>
                      <a:pt x="56" y="253"/>
                    </a:lnTo>
                    <a:lnTo>
                      <a:pt x="45" y="280"/>
                    </a:lnTo>
                    <a:lnTo>
                      <a:pt x="6" y="305"/>
                    </a:lnTo>
                    <a:lnTo>
                      <a:pt x="0" y="344"/>
                    </a:lnTo>
                    <a:lnTo>
                      <a:pt x="16" y="388"/>
                    </a:lnTo>
                    <a:lnTo>
                      <a:pt x="56" y="414"/>
                    </a:lnTo>
                    <a:lnTo>
                      <a:pt x="99" y="429"/>
                    </a:lnTo>
                    <a:lnTo>
                      <a:pt x="99" y="470"/>
                    </a:lnTo>
                    <a:lnTo>
                      <a:pt x="149" y="460"/>
                    </a:lnTo>
                    <a:lnTo>
                      <a:pt x="184" y="460"/>
                    </a:lnTo>
                    <a:lnTo>
                      <a:pt x="205" y="436"/>
                    </a:lnTo>
                    <a:lnTo>
                      <a:pt x="240" y="433"/>
                    </a:lnTo>
                    <a:lnTo>
                      <a:pt x="269" y="473"/>
                    </a:lnTo>
                    <a:lnTo>
                      <a:pt x="303" y="470"/>
                    </a:lnTo>
                    <a:lnTo>
                      <a:pt x="319" y="496"/>
                    </a:lnTo>
                    <a:lnTo>
                      <a:pt x="287" y="528"/>
                    </a:lnTo>
                    <a:lnTo>
                      <a:pt x="309" y="550"/>
                    </a:lnTo>
                    <a:lnTo>
                      <a:pt x="313" y="578"/>
                    </a:lnTo>
                    <a:lnTo>
                      <a:pt x="355" y="539"/>
                    </a:lnTo>
                    <a:lnTo>
                      <a:pt x="407" y="515"/>
                    </a:lnTo>
                    <a:lnTo>
                      <a:pt x="460" y="485"/>
                    </a:lnTo>
                    <a:lnTo>
                      <a:pt x="500" y="490"/>
                    </a:lnTo>
                    <a:lnTo>
                      <a:pt x="521" y="476"/>
                    </a:lnTo>
                    <a:lnTo>
                      <a:pt x="591" y="476"/>
                    </a:lnTo>
                    <a:lnTo>
                      <a:pt x="640" y="494"/>
                    </a:lnTo>
                    <a:lnTo>
                      <a:pt x="755" y="50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193"/>
              <p:cNvSpPr>
                <a:spLocks/>
              </p:cNvSpPr>
              <p:nvPr/>
            </p:nvSpPr>
            <p:spPr bwMode="auto">
              <a:xfrm>
                <a:off x="4973785" y="6088919"/>
                <a:ext cx="39639" cy="23126"/>
              </a:xfrm>
              <a:custGeom>
                <a:avLst/>
                <a:gdLst>
                  <a:gd name="T0" fmla="*/ 2147483647 w 279"/>
                  <a:gd name="T1" fmla="*/ 2147483647 h 159"/>
                  <a:gd name="T2" fmla="*/ 2147483647 w 279"/>
                  <a:gd name="T3" fmla="*/ 2147483647 h 159"/>
                  <a:gd name="T4" fmla="*/ 2147483647 w 279"/>
                  <a:gd name="T5" fmla="*/ 2147483647 h 159"/>
                  <a:gd name="T6" fmla="*/ 2147483647 w 279"/>
                  <a:gd name="T7" fmla="*/ 2147483647 h 159"/>
                  <a:gd name="T8" fmla="*/ 2147483647 w 279"/>
                  <a:gd name="T9" fmla="*/ 2147483647 h 159"/>
                  <a:gd name="T10" fmla="*/ 2147483647 w 279"/>
                  <a:gd name="T11" fmla="*/ 2147483647 h 159"/>
                  <a:gd name="T12" fmla="*/ 0 w 279"/>
                  <a:gd name="T13" fmla="*/ 2147483647 h 159"/>
                  <a:gd name="T14" fmla="*/ 2147483647 w 279"/>
                  <a:gd name="T15" fmla="*/ 2147483647 h 159"/>
                  <a:gd name="T16" fmla="*/ 2147483647 w 279"/>
                  <a:gd name="T17" fmla="*/ 2147483647 h 159"/>
                  <a:gd name="T18" fmla="*/ 2147483647 w 279"/>
                  <a:gd name="T19" fmla="*/ 2147483647 h 159"/>
                  <a:gd name="T20" fmla="*/ 2147483647 w 279"/>
                  <a:gd name="T21" fmla="*/ 2147483647 h 159"/>
                  <a:gd name="T22" fmla="*/ 2147483647 w 279"/>
                  <a:gd name="T23" fmla="*/ 2147483647 h 159"/>
                  <a:gd name="T24" fmla="*/ 2147483647 w 279"/>
                  <a:gd name="T25" fmla="*/ 0 h 159"/>
                  <a:gd name="T26" fmla="*/ 2147483647 w 279"/>
                  <a:gd name="T27" fmla="*/ 0 h 159"/>
                  <a:gd name="T28" fmla="*/ 2147483647 w 279"/>
                  <a:gd name="T29" fmla="*/ 2147483647 h 159"/>
                  <a:gd name="T30" fmla="*/ 2147483647 w 279"/>
                  <a:gd name="T31" fmla="*/ 2147483647 h 159"/>
                  <a:gd name="T32" fmla="*/ 2147483647 w 279"/>
                  <a:gd name="T33" fmla="*/ 2147483647 h 159"/>
                  <a:gd name="T34" fmla="*/ 2147483647 w 279"/>
                  <a:gd name="T35" fmla="*/ 2147483647 h 159"/>
                  <a:gd name="T36" fmla="*/ 2147483647 w 279"/>
                  <a:gd name="T37" fmla="*/ 2147483647 h 159"/>
                  <a:gd name="T38" fmla="*/ 2147483647 w 279"/>
                  <a:gd name="T39" fmla="*/ 2147483647 h 15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79" h="159">
                    <a:moveTo>
                      <a:pt x="273" y="145"/>
                    </a:moveTo>
                    <a:lnTo>
                      <a:pt x="191" y="141"/>
                    </a:lnTo>
                    <a:lnTo>
                      <a:pt x="145" y="127"/>
                    </a:lnTo>
                    <a:lnTo>
                      <a:pt x="110" y="159"/>
                    </a:lnTo>
                    <a:lnTo>
                      <a:pt x="81" y="157"/>
                    </a:lnTo>
                    <a:lnTo>
                      <a:pt x="39" y="120"/>
                    </a:lnTo>
                    <a:lnTo>
                      <a:pt x="0" y="96"/>
                    </a:lnTo>
                    <a:lnTo>
                      <a:pt x="14" y="76"/>
                    </a:lnTo>
                    <a:lnTo>
                      <a:pt x="37" y="69"/>
                    </a:lnTo>
                    <a:lnTo>
                      <a:pt x="59" y="37"/>
                    </a:lnTo>
                    <a:lnTo>
                      <a:pt x="109" y="27"/>
                    </a:lnTo>
                    <a:lnTo>
                      <a:pt x="144" y="27"/>
                    </a:lnTo>
                    <a:lnTo>
                      <a:pt x="165" y="3"/>
                    </a:lnTo>
                    <a:lnTo>
                      <a:pt x="200" y="0"/>
                    </a:lnTo>
                    <a:lnTo>
                      <a:pt x="229" y="40"/>
                    </a:lnTo>
                    <a:lnTo>
                      <a:pt x="263" y="37"/>
                    </a:lnTo>
                    <a:lnTo>
                      <a:pt x="279" y="63"/>
                    </a:lnTo>
                    <a:lnTo>
                      <a:pt x="247" y="95"/>
                    </a:lnTo>
                    <a:lnTo>
                      <a:pt x="269" y="117"/>
                    </a:lnTo>
                    <a:lnTo>
                      <a:pt x="273" y="145"/>
                    </a:lnTo>
                    <a:close/>
                  </a:path>
                </a:pathLst>
              </a:custGeom>
              <a:solidFill>
                <a:srgbClr val="FF6600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194"/>
              <p:cNvSpPr>
                <a:spLocks/>
              </p:cNvSpPr>
              <p:nvPr/>
            </p:nvSpPr>
            <p:spPr bwMode="auto">
              <a:xfrm>
                <a:off x="5051411" y="5928687"/>
                <a:ext cx="150296" cy="151972"/>
              </a:xfrm>
              <a:custGeom>
                <a:avLst/>
                <a:gdLst>
                  <a:gd name="T0" fmla="*/ 2147483647 w 1064"/>
                  <a:gd name="T1" fmla="*/ 2147483647 h 1086"/>
                  <a:gd name="T2" fmla="*/ 2147483647 w 1064"/>
                  <a:gd name="T3" fmla="*/ 2147483647 h 1086"/>
                  <a:gd name="T4" fmla="*/ 2147483647 w 1064"/>
                  <a:gd name="T5" fmla="*/ 2147483647 h 1086"/>
                  <a:gd name="T6" fmla="*/ 2147483647 w 1064"/>
                  <a:gd name="T7" fmla="*/ 2147483647 h 1086"/>
                  <a:gd name="T8" fmla="*/ 2147483647 w 1064"/>
                  <a:gd name="T9" fmla="*/ 2147483647 h 1086"/>
                  <a:gd name="T10" fmla="*/ 2147483647 w 1064"/>
                  <a:gd name="T11" fmla="*/ 2147483647 h 1086"/>
                  <a:gd name="T12" fmla="*/ 2147483647 w 1064"/>
                  <a:gd name="T13" fmla="*/ 2147483647 h 1086"/>
                  <a:gd name="T14" fmla="*/ 2147483647 w 1064"/>
                  <a:gd name="T15" fmla="*/ 2147483647 h 1086"/>
                  <a:gd name="T16" fmla="*/ 2147483647 w 1064"/>
                  <a:gd name="T17" fmla="*/ 2147483647 h 1086"/>
                  <a:gd name="T18" fmla="*/ 2147483647 w 1064"/>
                  <a:gd name="T19" fmla="*/ 2147483647 h 1086"/>
                  <a:gd name="T20" fmla="*/ 2147483647 w 1064"/>
                  <a:gd name="T21" fmla="*/ 2147483647 h 1086"/>
                  <a:gd name="T22" fmla="*/ 2147483647 w 1064"/>
                  <a:gd name="T23" fmla="*/ 2147483647 h 1086"/>
                  <a:gd name="T24" fmla="*/ 2147483647 w 1064"/>
                  <a:gd name="T25" fmla="*/ 2147483647 h 1086"/>
                  <a:gd name="T26" fmla="*/ 2147483647 w 1064"/>
                  <a:gd name="T27" fmla="*/ 2147483647 h 1086"/>
                  <a:gd name="T28" fmla="*/ 2147483647 w 1064"/>
                  <a:gd name="T29" fmla="*/ 2147483647 h 1086"/>
                  <a:gd name="T30" fmla="*/ 2147483647 w 1064"/>
                  <a:gd name="T31" fmla="*/ 2147483647 h 1086"/>
                  <a:gd name="T32" fmla="*/ 2147483647 w 1064"/>
                  <a:gd name="T33" fmla="*/ 2147483647 h 1086"/>
                  <a:gd name="T34" fmla="*/ 2147483647 w 1064"/>
                  <a:gd name="T35" fmla="*/ 2147483647 h 1086"/>
                  <a:gd name="T36" fmla="*/ 2147483647 w 1064"/>
                  <a:gd name="T37" fmla="*/ 2147483647 h 1086"/>
                  <a:gd name="T38" fmla="*/ 2147483647 w 1064"/>
                  <a:gd name="T39" fmla="*/ 2147483647 h 1086"/>
                  <a:gd name="T40" fmla="*/ 2147483647 w 1064"/>
                  <a:gd name="T41" fmla="*/ 2147483647 h 1086"/>
                  <a:gd name="T42" fmla="*/ 2147483647 w 1064"/>
                  <a:gd name="T43" fmla="*/ 2147483647 h 1086"/>
                  <a:gd name="T44" fmla="*/ 2147483647 w 1064"/>
                  <a:gd name="T45" fmla="*/ 2147483647 h 1086"/>
                  <a:gd name="T46" fmla="*/ 2147483647 w 1064"/>
                  <a:gd name="T47" fmla="*/ 2147483647 h 1086"/>
                  <a:gd name="T48" fmla="*/ 2147483647 w 1064"/>
                  <a:gd name="T49" fmla="*/ 2147483647 h 1086"/>
                  <a:gd name="T50" fmla="*/ 2147483647 w 1064"/>
                  <a:gd name="T51" fmla="*/ 2147483647 h 1086"/>
                  <a:gd name="T52" fmla="*/ 2147483647 w 1064"/>
                  <a:gd name="T53" fmla="*/ 2147483647 h 1086"/>
                  <a:gd name="T54" fmla="*/ 2147483647 w 1064"/>
                  <a:gd name="T55" fmla="*/ 2147483647 h 1086"/>
                  <a:gd name="T56" fmla="*/ 2147483647 w 1064"/>
                  <a:gd name="T57" fmla="*/ 2147483647 h 1086"/>
                  <a:gd name="T58" fmla="*/ 2147483647 w 1064"/>
                  <a:gd name="T59" fmla="*/ 2147483647 h 1086"/>
                  <a:gd name="T60" fmla="*/ 2147483647 w 1064"/>
                  <a:gd name="T61" fmla="*/ 2147483647 h 1086"/>
                  <a:gd name="T62" fmla="*/ 2147483647 w 1064"/>
                  <a:gd name="T63" fmla="*/ 0 h 1086"/>
                  <a:gd name="T64" fmla="*/ 2147483647 w 1064"/>
                  <a:gd name="T65" fmla="*/ 2147483647 h 1086"/>
                  <a:gd name="T66" fmla="*/ 2147483647 w 1064"/>
                  <a:gd name="T67" fmla="*/ 0 h 1086"/>
                  <a:gd name="T68" fmla="*/ 2147483647 w 1064"/>
                  <a:gd name="T69" fmla="*/ 2147483647 h 1086"/>
                  <a:gd name="T70" fmla="*/ 2147483647 w 1064"/>
                  <a:gd name="T71" fmla="*/ 2147483647 h 1086"/>
                  <a:gd name="T72" fmla="*/ 2147483647 w 1064"/>
                  <a:gd name="T73" fmla="*/ 2147483647 h 1086"/>
                  <a:gd name="T74" fmla="*/ 2147483647 w 1064"/>
                  <a:gd name="T75" fmla="*/ 2147483647 h 1086"/>
                  <a:gd name="T76" fmla="*/ 2147483647 w 1064"/>
                  <a:gd name="T77" fmla="*/ 2147483647 h 10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064" h="1086">
                    <a:moveTo>
                      <a:pt x="1064" y="97"/>
                    </a:moveTo>
                    <a:lnTo>
                      <a:pt x="1041" y="135"/>
                    </a:lnTo>
                    <a:lnTo>
                      <a:pt x="1020" y="128"/>
                    </a:lnTo>
                    <a:lnTo>
                      <a:pt x="1000" y="164"/>
                    </a:lnTo>
                    <a:lnTo>
                      <a:pt x="967" y="206"/>
                    </a:lnTo>
                    <a:cubicBezTo>
                      <a:pt x="967" y="206"/>
                      <a:pt x="941" y="239"/>
                      <a:pt x="934" y="237"/>
                    </a:cubicBezTo>
                    <a:cubicBezTo>
                      <a:pt x="927" y="234"/>
                      <a:pt x="908" y="234"/>
                      <a:pt x="908" y="234"/>
                    </a:cubicBezTo>
                    <a:lnTo>
                      <a:pt x="892" y="269"/>
                    </a:lnTo>
                    <a:lnTo>
                      <a:pt x="891" y="346"/>
                    </a:lnTo>
                    <a:lnTo>
                      <a:pt x="849" y="424"/>
                    </a:lnTo>
                    <a:lnTo>
                      <a:pt x="842" y="477"/>
                    </a:lnTo>
                    <a:lnTo>
                      <a:pt x="820" y="515"/>
                    </a:lnTo>
                    <a:lnTo>
                      <a:pt x="789" y="521"/>
                    </a:lnTo>
                    <a:lnTo>
                      <a:pt x="775" y="543"/>
                    </a:lnTo>
                    <a:lnTo>
                      <a:pt x="769" y="572"/>
                    </a:lnTo>
                    <a:lnTo>
                      <a:pt x="737" y="595"/>
                    </a:lnTo>
                    <a:lnTo>
                      <a:pt x="670" y="595"/>
                    </a:lnTo>
                    <a:lnTo>
                      <a:pt x="651" y="616"/>
                    </a:lnTo>
                    <a:lnTo>
                      <a:pt x="652" y="655"/>
                    </a:lnTo>
                    <a:lnTo>
                      <a:pt x="620" y="681"/>
                    </a:lnTo>
                    <a:lnTo>
                      <a:pt x="618" y="700"/>
                    </a:lnTo>
                    <a:lnTo>
                      <a:pt x="606" y="728"/>
                    </a:lnTo>
                    <a:lnTo>
                      <a:pt x="600" y="788"/>
                    </a:lnTo>
                    <a:lnTo>
                      <a:pt x="568" y="825"/>
                    </a:lnTo>
                    <a:lnTo>
                      <a:pt x="565" y="869"/>
                    </a:lnTo>
                    <a:lnTo>
                      <a:pt x="529" y="907"/>
                    </a:lnTo>
                    <a:lnTo>
                      <a:pt x="476" y="927"/>
                    </a:lnTo>
                    <a:lnTo>
                      <a:pt x="445" y="934"/>
                    </a:lnTo>
                    <a:lnTo>
                      <a:pt x="418" y="954"/>
                    </a:lnTo>
                    <a:lnTo>
                      <a:pt x="410" y="978"/>
                    </a:lnTo>
                    <a:lnTo>
                      <a:pt x="374" y="986"/>
                    </a:lnTo>
                    <a:lnTo>
                      <a:pt x="318" y="988"/>
                    </a:lnTo>
                    <a:lnTo>
                      <a:pt x="255" y="1076"/>
                    </a:lnTo>
                    <a:lnTo>
                      <a:pt x="186" y="1077"/>
                    </a:lnTo>
                    <a:lnTo>
                      <a:pt x="160" y="1086"/>
                    </a:lnTo>
                    <a:lnTo>
                      <a:pt x="123" y="1084"/>
                    </a:lnTo>
                    <a:lnTo>
                      <a:pt x="100" y="1073"/>
                    </a:lnTo>
                    <a:lnTo>
                      <a:pt x="96" y="1023"/>
                    </a:lnTo>
                    <a:lnTo>
                      <a:pt x="52" y="965"/>
                    </a:lnTo>
                    <a:lnTo>
                      <a:pt x="52" y="869"/>
                    </a:lnTo>
                    <a:lnTo>
                      <a:pt x="22" y="792"/>
                    </a:lnTo>
                    <a:cubicBezTo>
                      <a:pt x="22" y="792"/>
                      <a:pt x="12" y="749"/>
                      <a:pt x="0" y="723"/>
                    </a:cubicBezTo>
                    <a:lnTo>
                      <a:pt x="21" y="692"/>
                    </a:lnTo>
                    <a:lnTo>
                      <a:pt x="54" y="662"/>
                    </a:lnTo>
                    <a:lnTo>
                      <a:pt x="59" y="613"/>
                    </a:lnTo>
                    <a:lnTo>
                      <a:pt x="98" y="587"/>
                    </a:lnTo>
                    <a:lnTo>
                      <a:pt x="135" y="566"/>
                    </a:lnTo>
                    <a:lnTo>
                      <a:pt x="149" y="526"/>
                    </a:lnTo>
                    <a:cubicBezTo>
                      <a:pt x="149" y="526"/>
                      <a:pt x="177" y="468"/>
                      <a:pt x="201" y="464"/>
                    </a:cubicBezTo>
                    <a:lnTo>
                      <a:pt x="198" y="419"/>
                    </a:lnTo>
                    <a:lnTo>
                      <a:pt x="224" y="380"/>
                    </a:lnTo>
                    <a:lnTo>
                      <a:pt x="236" y="345"/>
                    </a:lnTo>
                    <a:lnTo>
                      <a:pt x="238" y="298"/>
                    </a:lnTo>
                    <a:lnTo>
                      <a:pt x="210" y="265"/>
                    </a:lnTo>
                    <a:lnTo>
                      <a:pt x="212" y="223"/>
                    </a:lnTo>
                    <a:lnTo>
                      <a:pt x="268" y="193"/>
                    </a:lnTo>
                    <a:lnTo>
                      <a:pt x="282" y="163"/>
                    </a:lnTo>
                    <a:lnTo>
                      <a:pt x="294" y="130"/>
                    </a:lnTo>
                    <a:lnTo>
                      <a:pt x="327" y="126"/>
                    </a:lnTo>
                    <a:lnTo>
                      <a:pt x="362" y="98"/>
                    </a:lnTo>
                    <a:lnTo>
                      <a:pt x="365" y="34"/>
                    </a:lnTo>
                    <a:lnTo>
                      <a:pt x="400" y="1"/>
                    </a:lnTo>
                    <a:lnTo>
                      <a:pt x="471" y="0"/>
                    </a:lnTo>
                    <a:lnTo>
                      <a:pt x="492" y="27"/>
                    </a:lnTo>
                    <a:lnTo>
                      <a:pt x="534" y="19"/>
                    </a:lnTo>
                    <a:lnTo>
                      <a:pt x="555" y="1"/>
                    </a:lnTo>
                    <a:lnTo>
                      <a:pt x="620" y="5"/>
                    </a:lnTo>
                    <a:lnTo>
                      <a:pt x="671" y="55"/>
                    </a:lnTo>
                    <a:lnTo>
                      <a:pt x="714" y="59"/>
                    </a:lnTo>
                    <a:lnTo>
                      <a:pt x="784" y="82"/>
                    </a:lnTo>
                    <a:lnTo>
                      <a:pt x="831" y="87"/>
                    </a:lnTo>
                    <a:lnTo>
                      <a:pt x="870" y="50"/>
                    </a:lnTo>
                    <a:lnTo>
                      <a:pt x="919" y="26"/>
                    </a:lnTo>
                    <a:lnTo>
                      <a:pt x="966" y="19"/>
                    </a:lnTo>
                    <a:lnTo>
                      <a:pt x="984" y="61"/>
                    </a:lnTo>
                    <a:lnTo>
                      <a:pt x="1029" y="85"/>
                    </a:lnTo>
                    <a:lnTo>
                      <a:pt x="1056" y="85"/>
                    </a:lnTo>
                    <a:lnTo>
                      <a:pt x="1064" y="97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195"/>
              <p:cNvSpPr>
                <a:spLocks/>
              </p:cNvSpPr>
              <p:nvPr/>
            </p:nvSpPr>
            <p:spPr bwMode="auto">
              <a:xfrm>
                <a:off x="5066275" y="5999718"/>
                <a:ext cx="102400" cy="120587"/>
              </a:xfrm>
              <a:custGeom>
                <a:avLst/>
                <a:gdLst>
                  <a:gd name="T0" fmla="*/ 2147483647 w 729"/>
                  <a:gd name="T1" fmla="*/ 2147483647 h 861"/>
                  <a:gd name="T2" fmla="*/ 2147483647 w 729"/>
                  <a:gd name="T3" fmla="*/ 2147483647 h 861"/>
                  <a:gd name="T4" fmla="*/ 2147483647 w 729"/>
                  <a:gd name="T5" fmla="*/ 2147483647 h 861"/>
                  <a:gd name="T6" fmla="*/ 2147483647 w 729"/>
                  <a:gd name="T7" fmla="*/ 2147483647 h 861"/>
                  <a:gd name="T8" fmla="*/ 2147483647 w 729"/>
                  <a:gd name="T9" fmla="*/ 2147483647 h 861"/>
                  <a:gd name="T10" fmla="*/ 2147483647 w 729"/>
                  <a:gd name="T11" fmla="*/ 2147483647 h 861"/>
                  <a:gd name="T12" fmla="*/ 2147483647 w 729"/>
                  <a:gd name="T13" fmla="*/ 2147483647 h 861"/>
                  <a:gd name="T14" fmla="*/ 2147483647 w 729"/>
                  <a:gd name="T15" fmla="*/ 2147483647 h 861"/>
                  <a:gd name="T16" fmla="*/ 2147483647 w 729"/>
                  <a:gd name="T17" fmla="*/ 2147483647 h 861"/>
                  <a:gd name="T18" fmla="*/ 2147483647 w 729"/>
                  <a:gd name="T19" fmla="*/ 2147483647 h 861"/>
                  <a:gd name="T20" fmla="*/ 2147483647 w 729"/>
                  <a:gd name="T21" fmla="*/ 2147483647 h 861"/>
                  <a:gd name="T22" fmla="*/ 2147483647 w 729"/>
                  <a:gd name="T23" fmla="*/ 2147483647 h 861"/>
                  <a:gd name="T24" fmla="*/ 2147483647 w 729"/>
                  <a:gd name="T25" fmla="*/ 2147483647 h 861"/>
                  <a:gd name="T26" fmla="*/ 2147483647 w 729"/>
                  <a:gd name="T27" fmla="*/ 2147483647 h 861"/>
                  <a:gd name="T28" fmla="*/ 2147483647 w 729"/>
                  <a:gd name="T29" fmla="*/ 2147483647 h 861"/>
                  <a:gd name="T30" fmla="*/ 2147483647 w 729"/>
                  <a:gd name="T31" fmla="*/ 2147483647 h 861"/>
                  <a:gd name="T32" fmla="*/ 2147483647 w 729"/>
                  <a:gd name="T33" fmla="*/ 2147483647 h 861"/>
                  <a:gd name="T34" fmla="*/ 2147483647 w 729"/>
                  <a:gd name="T35" fmla="*/ 2147483647 h 861"/>
                  <a:gd name="T36" fmla="*/ 0 w 729"/>
                  <a:gd name="T37" fmla="*/ 2147483647 h 861"/>
                  <a:gd name="T38" fmla="*/ 2147483647 w 729"/>
                  <a:gd name="T39" fmla="*/ 2147483647 h 861"/>
                  <a:gd name="T40" fmla="*/ 2147483647 w 729"/>
                  <a:gd name="T41" fmla="*/ 2147483647 h 861"/>
                  <a:gd name="T42" fmla="*/ 2147483647 w 729"/>
                  <a:gd name="T43" fmla="*/ 2147483647 h 861"/>
                  <a:gd name="T44" fmla="*/ 2147483647 w 729"/>
                  <a:gd name="T45" fmla="*/ 2147483647 h 861"/>
                  <a:gd name="T46" fmla="*/ 2147483647 w 729"/>
                  <a:gd name="T47" fmla="*/ 2147483647 h 861"/>
                  <a:gd name="T48" fmla="*/ 2147483647 w 729"/>
                  <a:gd name="T49" fmla="*/ 2147483647 h 861"/>
                  <a:gd name="T50" fmla="*/ 2147483647 w 729"/>
                  <a:gd name="T51" fmla="*/ 2147483647 h 861"/>
                  <a:gd name="T52" fmla="*/ 2147483647 w 729"/>
                  <a:gd name="T53" fmla="*/ 2147483647 h 861"/>
                  <a:gd name="T54" fmla="*/ 2147483647 w 729"/>
                  <a:gd name="T55" fmla="*/ 2147483647 h 861"/>
                  <a:gd name="T56" fmla="*/ 2147483647 w 729"/>
                  <a:gd name="T57" fmla="*/ 2147483647 h 861"/>
                  <a:gd name="T58" fmla="*/ 2147483647 w 729"/>
                  <a:gd name="T59" fmla="*/ 2147483647 h 861"/>
                  <a:gd name="T60" fmla="*/ 2147483647 w 729"/>
                  <a:gd name="T61" fmla="*/ 2147483647 h 861"/>
                  <a:gd name="T62" fmla="*/ 2147483647 w 729"/>
                  <a:gd name="T63" fmla="*/ 0 h 86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29" h="861">
                    <a:moveTo>
                      <a:pt x="720" y="0"/>
                    </a:moveTo>
                    <a:lnTo>
                      <a:pt x="716" y="55"/>
                    </a:lnTo>
                    <a:lnTo>
                      <a:pt x="718" y="89"/>
                    </a:lnTo>
                    <a:lnTo>
                      <a:pt x="727" y="113"/>
                    </a:lnTo>
                    <a:lnTo>
                      <a:pt x="729" y="159"/>
                    </a:lnTo>
                    <a:lnTo>
                      <a:pt x="688" y="199"/>
                    </a:lnTo>
                    <a:lnTo>
                      <a:pt x="692" y="234"/>
                    </a:lnTo>
                    <a:lnTo>
                      <a:pt x="705" y="259"/>
                    </a:lnTo>
                    <a:lnTo>
                      <a:pt x="709" y="353"/>
                    </a:lnTo>
                    <a:lnTo>
                      <a:pt x="659" y="398"/>
                    </a:lnTo>
                    <a:lnTo>
                      <a:pt x="653" y="448"/>
                    </a:lnTo>
                    <a:lnTo>
                      <a:pt x="671" y="501"/>
                    </a:lnTo>
                    <a:lnTo>
                      <a:pt x="676" y="563"/>
                    </a:lnTo>
                    <a:lnTo>
                      <a:pt x="664" y="596"/>
                    </a:lnTo>
                    <a:lnTo>
                      <a:pt x="666" y="714"/>
                    </a:lnTo>
                    <a:lnTo>
                      <a:pt x="658" y="717"/>
                    </a:lnTo>
                    <a:lnTo>
                      <a:pt x="632" y="724"/>
                    </a:lnTo>
                    <a:lnTo>
                      <a:pt x="609" y="754"/>
                    </a:lnTo>
                    <a:lnTo>
                      <a:pt x="550" y="756"/>
                    </a:lnTo>
                    <a:lnTo>
                      <a:pt x="534" y="777"/>
                    </a:lnTo>
                    <a:lnTo>
                      <a:pt x="506" y="777"/>
                    </a:lnTo>
                    <a:lnTo>
                      <a:pt x="488" y="801"/>
                    </a:lnTo>
                    <a:lnTo>
                      <a:pt x="447" y="805"/>
                    </a:lnTo>
                    <a:lnTo>
                      <a:pt x="399" y="834"/>
                    </a:lnTo>
                    <a:cubicBezTo>
                      <a:pt x="399" y="834"/>
                      <a:pt x="399" y="861"/>
                      <a:pt x="384" y="861"/>
                    </a:cubicBezTo>
                    <a:cubicBezTo>
                      <a:pt x="368" y="861"/>
                      <a:pt x="364" y="836"/>
                      <a:pt x="364" y="836"/>
                    </a:cubicBezTo>
                    <a:lnTo>
                      <a:pt x="352" y="820"/>
                    </a:lnTo>
                    <a:lnTo>
                      <a:pt x="315" y="815"/>
                    </a:lnTo>
                    <a:cubicBezTo>
                      <a:pt x="315" y="815"/>
                      <a:pt x="293" y="782"/>
                      <a:pt x="284" y="782"/>
                    </a:cubicBezTo>
                    <a:cubicBezTo>
                      <a:pt x="275" y="782"/>
                      <a:pt x="238" y="777"/>
                      <a:pt x="238" y="777"/>
                    </a:cubicBezTo>
                    <a:lnTo>
                      <a:pt x="211" y="789"/>
                    </a:lnTo>
                    <a:lnTo>
                      <a:pt x="151" y="784"/>
                    </a:lnTo>
                    <a:lnTo>
                      <a:pt x="102" y="735"/>
                    </a:lnTo>
                    <a:lnTo>
                      <a:pt x="60" y="707"/>
                    </a:lnTo>
                    <a:lnTo>
                      <a:pt x="28" y="676"/>
                    </a:lnTo>
                    <a:lnTo>
                      <a:pt x="28" y="645"/>
                    </a:lnTo>
                    <a:lnTo>
                      <a:pt x="3" y="587"/>
                    </a:lnTo>
                    <a:lnTo>
                      <a:pt x="0" y="558"/>
                    </a:lnTo>
                    <a:lnTo>
                      <a:pt x="23" y="569"/>
                    </a:lnTo>
                    <a:lnTo>
                      <a:pt x="60" y="571"/>
                    </a:lnTo>
                    <a:lnTo>
                      <a:pt x="86" y="562"/>
                    </a:lnTo>
                    <a:lnTo>
                      <a:pt x="155" y="561"/>
                    </a:lnTo>
                    <a:lnTo>
                      <a:pt x="218" y="473"/>
                    </a:lnTo>
                    <a:lnTo>
                      <a:pt x="274" y="471"/>
                    </a:lnTo>
                    <a:lnTo>
                      <a:pt x="310" y="463"/>
                    </a:lnTo>
                    <a:lnTo>
                      <a:pt x="318" y="439"/>
                    </a:lnTo>
                    <a:lnTo>
                      <a:pt x="345" y="419"/>
                    </a:lnTo>
                    <a:lnTo>
                      <a:pt x="376" y="412"/>
                    </a:lnTo>
                    <a:lnTo>
                      <a:pt x="429" y="392"/>
                    </a:lnTo>
                    <a:lnTo>
                      <a:pt x="465" y="354"/>
                    </a:lnTo>
                    <a:lnTo>
                      <a:pt x="468" y="310"/>
                    </a:lnTo>
                    <a:lnTo>
                      <a:pt x="500" y="273"/>
                    </a:lnTo>
                    <a:lnTo>
                      <a:pt x="506" y="213"/>
                    </a:lnTo>
                    <a:lnTo>
                      <a:pt x="518" y="185"/>
                    </a:lnTo>
                    <a:lnTo>
                      <a:pt x="520" y="166"/>
                    </a:lnTo>
                    <a:lnTo>
                      <a:pt x="552" y="140"/>
                    </a:lnTo>
                    <a:lnTo>
                      <a:pt x="551" y="101"/>
                    </a:lnTo>
                    <a:lnTo>
                      <a:pt x="570" y="80"/>
                    </a:lnTo>
                    <a:lnTo>
                      <a:pt x="637" y="80"/>
                    </a:lnTo>
                    <a:lnTo>
                      <a:pt x="669" y="57"/>
                    </a:lnTo>
                    <a:lnTo>
                      <a:pt x="675" y="28"/>
                    </a:lnTo>
                    <a:lnTo>
                      <a:pt x="689" y="6"/>
                    </a:lnTo>
                    <a:lnTo>
                      <a:pt x="720" y="0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196"/>
              <p:cNvSpPr>
                <a:spLocks/>
              </p:cNvSpPr>
              <p:nvPr/>
            </p:nvSpPr>
            <p:spPr bwMode="auto">
              <a:xfrm>
                <a:off x="5157114" y="5907213"/>
                <a:ext cx="122219" cy="193269"/>
              </a:xfrm>
              <a:custGeom>
                <a:avLst/>
                <a:gdLst>
                  <a:gd name="T0" fmla="*/ 2147483647 w 869"/>
                  <a:gd name="T1" fmla="*/ 0 h 1378"/>
                  <a:gd name="T2" fmla="*/ 2147483647 w 869"/>
                  <a:gd name="T3" fmla="*/ 2147483647 h 1378"/>
                  <a:gd name="T4" fmla="*/ 2147483647 w 869"/>
                  <a:gd name="T5" fmla="*/ 2147483647 h 1378"/>
                  <a:gd name="T6" fmla="*/ 2147483647 w 869"/>
                  <a:gd name="T7" fmla="*/ 2147483647 h 1378"/>
                  <a:gd name="T8" fmla="*/ 2147483647 w 869"/>
                  <a:gd name="T9" fmla="*/ 2147483647 h 1378"/>
                  <a:gd name="T10" fmla="*/ 2147483647 w 869"/>
                  <a:gd name="T11" fmla="*/ 2147483647 h 1378"/>
                  <a:gd name="T12" fmla="*/ 2147483647 w 869"/>
                  <a:gd name="T13" fmla="*/ 2147483647 h 1378"/>
                  <a:gd name="T14" fmla="*/ 2147483647 w 869"/>
                  <a:gd name="T15" fmla="*/ 2147483647 h 1378"/>
                  <a:gd name="T16" fmla="*/ 2147483647 w 869"/>
                  <a:gd name="T17" fmla="*/ 2147483647 h 1378"/>
                  <a:gd name="T18" fmla="*/ 2147483647 w 869"/>
                  <a:gd name="T19" fmla="*/ 2147483647 h 1378"/>
                  <a:gd name="T20" fmla="*/ 2147483647 w 869"/>
                  <a:gd name="T21" fmla="*/ 2147483647 h 1378"/>
                  <a:gd name="T22" fmla="*/ 2147483647 w 869"/>
                  <a:gd name="T23" fmla="*/ 2147483647 h 1378"/>
                  <a:gd name="T24" fmla="*/ 2147483647 w 869"/>
                  <a:gd name="T25" fmla="*/ 2147483647 h 1378"/>
                  <a:gd name="T26" fmla="*/ 2147483647 w 869"/>
                  <a:gd name="T27" fmla="*/ 2147483647 h 1378"/>
                  <a:gd name="T28" fmla="*/ 2147483647 w 869"/>
                  <a:gd name="T29" fmla="*/ 2147483647 h 1378"/>
                  <a:gd name="T30" fmla="*/ 2147483647 w 869"/>
                  <a:gd name="T31" fmla="*/ 2147483647 h 1378"/>
                  <a:gd name="T32" fmla="*/ 0 w 869"/>
                  <a:gd name="T33" fmla="*/ 2147483647 h 1378"/>
                  <a:gd name="T34" fmla="*/ 2147483647 w 869"/>
                  <a:gd name="T35" fmla="*/ 2147483647 h 1378"/>
                  <a:gd name="T36" fmla="*/ 2147483647 w 869"/>
                  <a:gd name="T37" fmla="*/ 2147483647 h 1378"/>
                  <a:gd name="T38" fmla="*/ 2147483647 w 869"/>
                  <a:gd name="T39" fmla="*/ 2147483647 h 1378"/>
                  <a:gd name="T40" fmla="*/ 2147483647 w 869"/>
                  <a:gd name="T41" fmla="*/ 2147483647 h 1378"/>
                  <a:gd name="T42" fmla="*/ 2147483647 w 869"/>
                  <a:gd name="T43" fmla="*/ 2147483647 h 1378"/>
                  <a:gd name="T44" fmla="*/ 2147483647 w 869"/>
                  <a:gd name="T45" fmla="*/ 2147483647 h 1378"/>
                  <a:gd name="T46" fmla="*/ 2147483647 w 869"/>
                  <a:gd name="T47" fmla="*/ 2147483647 h 1378"/>
                  <a:gd name="T48" fmla="*/ 2147483647 w 869"/>
                  <a:gd name="T49" fmla="*/ 2147483647 h 1378"/>
                  <a:gd name="T50" fmla="*/ 2147483647 w 869"/>
                  <a:gd name="T51" fmla="*/ 2147483647 h 1378"/>
                  <a:gd name="T52" fmla="*/ 2147483647 w 869"/>
                  <a:gd name="T53" fmla="*/ 2147483647 h 1378"/>
                  <a:gd name="T54" fmla="*/ 2147483647 w 869"/>
                  <a:gd name="T55" fmla="*/ 2147483647 h 1378"/>
                  <a:gd name="T56" fmla="*/ 2147483647 w 869"/>
                  <a:gd name="T57" fmla="*/ 2147483647 h 1378"/>
                  <a:gd name="T58" fmla="*/ 2147483647 w 869"/>
                  <a:gd name="T59" fmla="*/ 2147483647 h 1378"/>
                  <a:gd name="T60" fmla="*/ 2147483647 w 869"/>
                  <a:gd name="T61" fmla="*/ 2147483647 h 1378"/>
                  <a:gd name="T62" fmla="*/ 2147483647 w 869"/>
                  <a:gd name="T63" fmla="*/ 2147483647 h 1378"/>
                  <a:gd name="T64" fmla="*/ 2147483647 w 869"/>
                  <a:gd name="T65" fmla="*/ 2147483647 h 1378"/>
                  <a:gd name="T66" fmla="*/ 2147483647 w 869"/>
                  <a:gd name="T67" fmla="*/ 2147483647 h 1378"/>
                  <a:gd name="T68" fmla="*/ 2147483647 w 869"/>
                  <a:gd name="T69" fmla="*/ 2147483647 h 1378"/>
                  <a:gd name="T70" fmla="*/ 2147483647 w 869"/>
                  <a:gd name="T71" fmla="*/ 2147483647 h 1378"/>
                  <a:gd name="T72" fmla="*/ 2147483647 w 869"/>
                  <a:gd name="T73" fmla="*/ 2147483647 h 137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69" h="1378">
                    <a:moveTo>
                      <a:pt x="710" y="30"/>
                    </a:moveTo>
                    <a:lnTo>
                      <a:pt x="698" y="4"/>
                    </a:lnTo>
                    <a:lnTo>
                      <a:pt x="669" y="0"/>
                    </a:lnTo>
                    <a:lnTo>
                      <a:pt x="657" y="30"/>
                    </a:lnTo>
                    <a:lnTo>
                      <a:pt x="568" y="35"/>
                    </a:lnTo>
                    <a:lnTo>
                      <a:pt x="564" y="70"/>
                    </a:lnTo>
                    <a:lnTo>
                      <a:pt x="550" y="91"/>
                    </a:lnTo>
                    <a:lnTo>
                      <a:pt x="514" y="110"/>
                    </a:lnTo>
                    <a:lnTo>
                      <a:pt x="459" y="150"/>
                    </a:lnTo>
                    <a:lnTo>
                      <a:pt x="414" y="203"/>
                    </a:lnTo>
                    <a:lnTo>
                      <a:pt x="379" y="227"/>
                    </a:lnTo>
                    <a:lnTo>
                      <a:pt x="320" y="259"/>
                    </a:lnTo>
                    <a:lnTo>
                      <a:pt x="311" y="246"/>
                    </a:lnTo>
                    <a:lnTo>
                      <a:pt x="288" y="284"/>
                    </a:lnTo>
                    <a:lnTo>
                      <a:pt x="267" y="277"/>
                    </a:lnTo>
                    <a:lnTo>
                      <a:pt x="247" y="313"/>
                    </a:lnTo>
                    <a:lnTo>
                      <a:pt x="214" y="355"/>
                    </a:lnTo>
                    <a:cubicBezTo>
                      <a:pt x="214" y="355"/>
                      <a:pt x="188" y="388"/>
                      <a:pt x="181" y="386"/>
                    </a:cubicBezTo>
                    <a:cubicBezTo>
                      <a:pt x="174" y="383"/>
                      <a:pt x="155" y="383"/>
                      <a:pt x="155" y="383"/>
                    </a:cubicBezTo>
                    <a:lnTo>
                      <a:pt x="139" y="418"/>
                    </a:lnTo>
                    <a:lnTo>
                      <a:pt x="138" y="495"/>
                    </a:lnTo>
                    <a:lnTo>
                      <a:pt x="96" y="573"/>
                    </a:lnTo>
                    <a:lnTo>
                      <a:pt x="89" y="626"/>
                    </a:lnTo>
                    <a:lnTo>
                      <a:pt x="67" y="664"/>
                    </a:lnTo>
                    <a:lnTo>
                      <a:pt x="63" y="719"/>
                    </a:lnTo>
                    <a:lnTo>
                      <a:pt x="65" y="753"/>
                    </a:lnTo>
                    <a:lnTo>
                      <a:pt x="74" y="777"/>
                    </a:lnTo>
                    <a:lnTo>
                      <a:pt x="76" y="823"/>
                    </a:lnTo>
                    <a:lnTo>
                      <a:pt x="35" y="863"/>
                    </a:lnTo>
                    <a:lnTo>
                      <a:pt x="39" y="898"/>
                    </a:lnTo>
                    <a:lnTo>
                      <a:pt x="52" y="923"/>
                    </a:lnTo>
                    <a:lnTo>
                      <a:pt x="56" y="1017"/>
                    </a:lnTo>
                    <a:lnTo>
                      <a:pt x="6" y="1062"/>
                    </a:lnTo>
                    <a:lnTo>
                      <a:pt x="0" y="1112"/>
                    </a:lnTo>
                    <a:lnTo>
                      <a:pt x="18" y="1165"/>
                    </a:lnTo>
                    <a:lnTo>
                      <a:pt x="23" y="1227"/>
                    </a:lnTo>
                    <a:lnTo>
                      <a:pt x="11" y="1260"/>
                    </a:lnTo>
                    <a:lnTo>
                      <a:pt x="13" y="1378"/>
                    </a:lnTo>
                    <a:lnTo>
                      <a:pt x="33" y="1369"/>
                    </a:lnTo>
                    <a:lnTo>
                      <a:pt x="134" y="1313"/>
                    </a:lnTo>
                    <a:lnTo>
                      <a:pt x="211" y="1289"/>
                    </a:lnTo>
                    <a:lnTo>
                      <a:pt x="262" y="1282"/>
                    </a:lnTo>
                    <a:lnTo>
                      <a:pt x="283" y="1259"/>
                    </a:lnTo>
                    <a:lnTo>
                      <a:pt x="323" y="1199"/>
                    </a:lnTo>
                    <a:lnTo>
                      <a:pt x="404" y="1140"/>
                    </a:lnTo>
                    <a:lnTo>
                      <a:pt x="533" y="1061"/>
                    </a:lnTo>
                    <a:lnTo>
                      <a:pt x="561" y="1032"/>
                    </a:lnTo>
                    <a:lnTo>
                      <a:pt x="554" y="1005"/>
                    </a:lnTo>
                    <a:lnTo>
                      <a:pt x="550" y="974"/>
                    </a:lnTo>
                    <a:lnTo>
                      <a:pt x="598" y="913"/>
                    </a:lnTo>
                    <a:lnTo>
                      <a:pt x="692" y="804"/>
                    </a:lnTo>
                    <a:lnTo>
                      <a:pt x="727" y="783"/>
                    </a:lnTo>
                    <a:lnTo>
                      <a:pt x="734" y="729"/>
                    </a:lnTo>
                    <a:lnTo>
                      <a:pt x="746" y="715"/>
                    </a:lnTo>
                    <a:lnTo>
                      <a:pt x="755" y="657"/>
                    </a:lnTo>
                    <a:lnTo>
                      <a:pt x="765" y="642"/>
                    </a:lnTo>
                    <a:lnTo>
                      <a:pt x="771" y="612"/>
                    </a:lnTo>
                    <a:lnTo>
                      <a:pt x="869" y="519"/>
                    </a:lnTo>
                    <a:lnTo>
                      <a:pt x="846" y="518"/>
                    </a:lnTo>
                    <a:lnTo>
                      <a:pt x="823" y="500"/>
                    </a:lnTo>
                    <a:lnTo>
                      <a:pt x="807" y="470"/>
                    </a:lnTo>
                    <a:lnTo>
                      <a:pt x="762" y="472"/>
                    </a:lnTo>
                    <a:lnTo>
                      <a:pt x="734" y="467"/>
                    </a:lnTo>
                    <a:lnTo>
                      <a:pt x="734" y="416"/>
                    </a:lnTo>
                    <a:cubicBezTo>
                      <a:pt x="734" y="416"/>
                      <a:pt x="767" y="400"/>
                      <a:pt x="767" y="371"/>
                    </a:cubicBezTo>
                    <a:cubicBezTo>
                      <a:pt x="767" y="341"/>
                      <a:pt x="753" y="331"/>
                      <a:pt x="753" y="331"/>
                    </a:cubicBezTo>
                    <a:lnTo>
                      <a:pt x="728" y="280"/>
                    </a:lnTo>
                    <a:lnTo>
                      <a:pt x="719" y="211"/>
                    </a:lnTo>
                    <a:lnTo>
                      <a:pt x="715" y="149"/>
                    </a:lnTo>
                    <a:lnTo>
                      <a:pt x="737" y="123"/>
                    </a:lnTo>
                    <a:lnTo>
                      <a:pt x="729" y="93"/>
                    </a:lnTo>
                    <a:lnTo>
                      <a:pt x="701" y="85"/>
                    </a:lnTo>
                    <a:lnTo>
                      <a:pt x="677" y="51"/>
                    </a:lnTo>
                    <a:lnTo>
                      <a:pt x="710" y="30"/>
                    </a:lnTo>
                    <a:close/>
                  </a:path>
                </a:pathLst>
              </a:custGeom>
              <a:solidFill>
                <a:srgbClr val="A2DFF8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197"/>
              <p:cNvSpPr>
                <a:spLocks/>
              </p:cNvSpPr>
              <p:nvPr/>
            </p:nvSpPr>
            <p:spPr bwMode="auto">
              <a:xfrm>
                <a:off x="4775592" y="5887391"/>
                <a:ext cx="130477" cy="113979"/>
              </a:xfrm>
              <a:custGeom>
                <a:avLst/>
                <a:gdLst>
                  <a:gd name="T0" fmla="*/ 2147483647 w 925"/>
                  <a:gd name="T1" fmla="*/ 2147483647 h 812"/>
                  <a:gd name="T2" fmla="*/ 2147483647 w 925"/>
                  <a:gd name="T3" fmla="*/ 2147483647 h 812"/>
                  <a:gd name="T4" fmla="*/ 2147483647 w 925"/>
                  <a:gd name="T5" fmla="*/ 2147483647 h 812"/>
                  <a:gd name="T6" fmla="*/ 2147483647 w 925"/>
                  <a:gd name="T7" fmla="*/ 2147483647 h 812"/>
                  <a:gd name="T8" fmla="*/ 2147483647 w 925"/>
                  <a:gd name="T9" fmla="*/ 2147483647 h 812"/>
                  <a:gd name="T10" fmla="*/ 2147483647 w 925"/>
                  <a:gd name="T11" fmla="*/ 2147483647 h 812"/>
                  <a:gd name="T12" fmla="*/ 2147483647 w 925"/>
                  <a:gd name="T13" fmla="*/ 2147483647 h 812"/>
                  <a:gd name="T14" fmla="*/ 2147483647 w 925"/>
                  <a:gd name="T15" fmla="*/ 0 h 812"/>
                  <a:gd name="T16" fmla="*/ 2147483647 w 925"/>
                  <a:gd name="T17" fmla="*/ 2147483647 h 812"/>
                  <a:gd name="T18" fmla="*/ 2147483647 w 925"/>
                  <a:gd name="T19" fmla="*/ 2147483647 h 812"/>
                  <a:gd name="T20" fmla="*/ 2147483647 w 925"/>
                  <a:gd name="T21" fmla="*/ 2147483647 h 812"/>
                  <a:gd name="T22" fmla="*/ 2147483647 w 925"/>
                  <a:gd name="T23" fmla="*/ 2147483647 h 812"/>
                  <a:gd name="T24" fmla="*/ 2147483647 w 925"/>
                  <a:gd name="T25" fmla="*/ 2147483647 h 812"/>
                  <a:gd name="T26" fmla="*/ 2147483647 w 925"/>
                  <a:gd name="T27" fmla="*/ 2147483647 h 812"/>
                  <a:gd name="T28" fmla="*/ 2147483647 w 925"/>
                  <a:gd name="T29" fmla="*/ 2147483647 h 812"/>
                  <a:gd name="T30" fmla="*/ 2147483647 w 925"/>
                  <a:gd name="T31" fmla="*/ 2147483647 h 812"/>
                  <a:gd name="T32" fmla="*/ 2147483647 w 925"/>
                  <a:gd name="T33" fmla="*/ 2147483647 h 812"/>
                  <a:gd name="T34" fmla="*/ 2147483647 w 925"/>
                  <a:gd name="T35" fmla="*/ 2147483647 h 812"/>
                  <a:gd name="T36" fmla="*/ 2147483647 w 925"/>
                  <a:gd name="T37" fmla="*/ 2147483647 h 812"/>
                  <a:gd name="T38" fmla="*/ 2147483647 w 925"/>
                  <a:gd name="T39" fmla="*/ 2147483647 h 812"/>
                  <a:gd name="T40" fmla="*/ 2147483647 w 925"/>
                  <a:gd name="T41" fmla="*/ 2147483647 h 812"/>
                  <a:gd name="T42" fmla="*/ 2147483647 w 925"/>
                  <a:gd name="T43" fmla="*/ 2147483647 h 812"/>
                  <a:gd name="T44" fmla="*/ 2147483647 w 925"/>
                  <a:gd name="T45" fmla="*/ 2147483647 h 812"/>
                  <a:gd name="T46" fmla="*/ 2147483647 w 925"/>
                  <a:gd name="T47" fmla="*/ 2147483647 h 812"/>
                  <a:gd name="T48" fmla="*/ 2147483647 w 925"/>
                  <a:gd name="T49" fmla="*/ 2147483647 h 812"/>
                  <a:gd name="T50" fmla="*/ 2147483647 w 925"/>
                  <a:gd name="T51" fmla="*/ 2147483647 h 812"/>
                  <a:gd name="T52" fmla="*/ 2147483647 w 925"/>
                  <a:gd name="T53" fmla="*/ 2147483647 h 812"/>
                  <a:gd name="T54" fmla="*/ 2147483647 w 925"/>
                  <a:gd name="T55" fmla="*/ 2147483647 h 812"/>
                  <a:gd name="T56" fmla="*/ 2147483647 w 925"/>
                  <a:gd name="T57" fmla="*/ 2147483647 h 812"/>
                  <a:gd name="T58" fmla="*/ 0 w 925"/>
                  <a:gd name="T59" fmla="*/ 2147483647 h 812"/>
                  <a:gd name="T60" fmla="*/ 2147483647 w 925"/>
                  <a:gd name="T61" fmla="*/ 2147483647 h 812"/>
                  <a:gd name="T62" fmla="*/ 2147483647 w 925"/>
                  <a:gd name="T63" fmla="*/ 2147483647 h 812"/>
                  <a:gd name="T64" fmla="*/ 2147483647 w 925"/>
                  <a:gd name="T65" fmla="*/ 2147483647 h 812"/>
                  <a:gd name="T66" fmla="*/ 2147483647 w 925"/>
                  <a:gd name="T67" fmla="*/ 2147483647 h 812"/>
                  <a:gd name="T68" fmla="*/ 2147483647 w 925"/>
                  <a:gd name="T69" fmla="*/ 2147483647 h 812"/>
                  <a:gd name="T70" fmla="*/ 2147483647 w 925"/>
                  <a:gd name="T71" fmla="*/ 2147483647 h 8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25" h="812">
                    <a:moveTo>
                      <a:pt x="234" y="201"/>
                    </a:moveTo>
                    <a:cubicBezTo>
                      <a:pt x="234" y="201"/>
                      <a:pt x="256" y="211"/>
                      <a:pt x="266" y="211"/>
                    </a:cubicBezTo>
                    <a:cubicBezTo>
                      <a:pt x="276" y="211"/>
                      <a:pt x="278" y="194"/>
                      <a:pt x="278" y="194"/>
                    </a:cubicBezTo>
                    <a:lnTo>
                      <a:pt x="269" y="173"/>
                    </a:lnTo>
                    <a:lnTo>
                      <a:pt x="249" y="154"/>
                    </a:lnTo>
                    <a:lnTo>
                      <a:pt x="256" y="120"/>
                    </a:lnTo>
                    <a:lnTo>
                      <a:pt x="305" y="113"/>
                    </a:lnTo>
                    <a:lnTo>
                      <a:pt x="327" y="90"/>
                    </a:lnTo>
                    <a:lnTo>
                      <a:pt x="329" y="56"/>
                    </a:lnTo>
                    <a:lnTo>
                      <a:pt x="369" y="34"/>
                    </a:lnTo>
                    <a:lnTo>
                      <a:pt x="415" y="33"/>
                    </a:lnTo>
                    <a:lnTo>
                      <a:pt x="448" y="48"/>
                    </a:lnTo>
                    <a:lnTo>
                      <a:pt x="483" y="38"/>
                    </a:lnTo>
                    <a:lnTo>
                      <a:pt x="517" y="56"/>
                    </a:lnTo>
                    <a:lnTo>
                      <a:pt x="552" y="54"/>
                    </a:lnTo>
                    <a:lnTo>
                      <a:pt x="604" y="0"/>
                    </a:lnTo>
                    <a:lnTo>
                      <a:pt x="643" y="2"/>
                    </a:lnTo>
                    <a:lnTo>
                      <a:pt x="680" y="63"/>
                    </a:lnTo>
                    <a:lnTo>
                      <a:pt x="756" y="66"/>
                    </a:lnTo>
                    <a:lnTo>
                      <a:pt x="805" y="108"/>
                    </a:lnTo>
                    <a:lnTo>
                      <a:pt x="885" y="101"/>
                    </a:lnTo>
                    <a:lnTo>
                      <a:pt x="880" y="132"/>
                    </a:lnTo>
                    <a:lnTo>
                      <a:pt x="864" y="179"/>
                    </a:lnTo>
                    <a:lnTo>
                      <a:pt x="829" y="206"/>
                    </a:lnTo>
                    <a:lnTo>
                      <a:pt x="777" y="248"/>
                    </a:lnTo>
                    <a:lnTo>
                      <a:pt x="749" y="295"/>
                    </a:lnTo>
                    <a:lnTo>
                      <a:pt x="754" y="342"/>
                    </a:lnTo>
                    <a:lnTo>
                      <a:pt x="780" y="353"/>
                    </a:lnTo>
                    <a:lnTo>
                      <a:pt x="826" y="466"/>
                    </a:lnTo>
                    <a:lnTo>
                      <a:pt x="847" y="484"/>
                    </a:lnTo>
                    <a:lnTo>
                      <a:pt x="871" y="494"/>
                    </a:lnTo>
                    <a:lnTo>
                      <a:pt x="883" y="531"/>
                    </a:lnTo>
                    <a:lnTo>
                      <a:pt x="881" y="557"/>
                    </a:lnTo>
                    <a:lnTo>
                      <a:pt x="859" y="583"/>
                    </a:lnTo>
                    <a:lnTo>
                      <a:pt x="871" y="646"/>
                    </a:lnTo>
                    <a:lnTo>
                      <a:pt x="894" y="671"/>
                    </a:lnTo>
                    <a:lnTo>
                      <a:pt x="911" y="695"/>
                    </a:lnTo>
                    <a:lnTo>
                      <a:pt x="922" y="735"/>
                    </a:lnTo>
                    <a:lnTo>
                      <a:pt x="925" y="812"/>
                    </a:lnTo>
                    <a:lnTo>
                      <a:pt x="892" y="802"/>
                    </a:lnTo>
                    <a:cubicBezTo>
                      <a:pt x="892" y="802"/>
                      <a:pt x="869" y="786"/>
                      <a:pt x="861" y="786"/>
                    </a:cubicBezTo>
                    <a:cubicBezTo>
                      <a:pt x="852" y="786"/>
                      <a:pt x="826" y="804"/>
                      <a:pt x="826" y="804"/>
                    </a:cubicBezTo>
                    <a:lnTo>
                      <a:pt x="796" y="804"/>
                    </a:lnTo>
                    <a:lnTo>
                      <a:pt x="733" y="746"/>
                    </a:lnTo>
                    <a:lnTo>
                      <a:pt x="701" y="741"/>
                    </a:lnTo>
                    <a:lnTo>
                      <a:pt x="645" y="760"/>
                    </a:lnTo>
                    <a:cubicBezTo>
                      <a:pt x="645" y="760"/>
                      <a:pt x="576" y="793"/>
                      <a:pt x="563" y="793"/>
                    </a:cubicBezTo>
                    <a:cubicBezTo>
                      <a:pt x="551" y="793"/>
                      <a:pt x="441" y="781"/>
                      <a:pt x="441" y="781"/>
                    </a:cubicBezTo>
                    <a:lnTo>
                      <a:pt x="389" y="737"/>
                    </a:lnTo>
                    <a:lnTo>
                      <a:pt x="347" y="725"/>
                    </a:lnTo>
                    <a:lnTo>
                      <a:pt x="320" y="741"/>
                    </a:lnTo>
                    <a:lnTo>
                      <a:pt x="292" y="728"/>
                    </a:lnTo>
                    <a:lnTo>
                      <a:pt x="228" y="658"/>
                    </a:lnTo>
                    <a:lnTo>
                      <a:pt x="186" y="662"/>
                    </a:lnTo>
                    <a:lnTo>
                      <a:pt x="119" y="681"/>
                    </a:lnTo>
                    <a:lnTo>
                      <a:pt x="41" y="716"/>
                    </a:lnTo>
                    <a:lnTo>
                      <a:pt x="8" y="732"/>
                    </a:lnTo>
                    <a:lnTo>
                      <a:pt x="2" y="647"/>
                    </a:lnTo>
                    <a:lnTo>
                      <a:pt x="0" y="586"/>
                    </a:lnTo>
                    <a:lnTo>
                      <a:pt x="2" y="418"/>
                    </a:lnTo>
                    <a:lnTo>
                      <a:pt x="21" y="404"/>
                    </a:lnTo>
                    <a:lnTo>
                      <a:pt x="25" y="357"/>
                    </a:lnTo>
                    <a:lnTo>
                      <a:pt x="53" y="343"/>
                    </a:lnTo>
                    <a:cubicBezTo>
                      <a:pt x="69" y="335"/>
                      <a:pt x="102" y="330"/>
                      <a:pt x="102" y="330"/>
                    </a:cubicBezTo>
                    <a:lnTo>
                      <a:pt x="122" y="302"/>
                    </a:lnTo>
                    <a:cubicBezTo>
                      <a:pt x="122" y="302"/>
                      <a:pt x="114" y="282"/>
                      <a:pt x="133" y="273"/>
                    </a:cubicBezTo>
                    <a:cubicBezTo>
                      <a:pt x="152" y="265"/>
                      <a:pt x="159" y="268"/>
                      <a:pt x="159" y="268"/>
                    </a:cubicBezTo>
                    <a:lnTo>
                      <a:pt x="191" y="280"/>
                    </a:lnTo>
                    <a:lnTo>
                      <a:pt x="217" y="254"/>
                    </a:lnTo>
                    <a:lnTo>
                      <a:pt x="215" y="210"/>
                    </a:lnTo>
                    <a:lnTo>
                      <a:pt x="234" y="201"/>
                    </a:lnTo>
                    <a:close/>
                  </a:path>
                </a:pathLst>
              </a:custGeom>
              <a:solidFill>
                <a:srgbClr val="A7E2F7"/>
              </a:solidFill>
              <a:ln w="6350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198"/>
              <p:cNvSpPr>
                <a:spLocks/>
              </p:cNvSpPr>
              <p:nvPr/>
            </p:nvSpPr>
            <p:spPr bwMode="auto">
              <a:xfrm>
                <a:off x="4775592" y="5538846"/>
                <a:ext cx="525211" cy="581459"/>
              </a:xfrm>
              <a:custGeom>
                <a:avLst/>
                <a:gdLst>
                  <a:gd name="T0" fmla="*/ 2147483647 w 3748"/>
                  <a:gd name="T1" fmla="*/ 2147483647 h 4158"/>
                  <a:gd name="T2" fmla="*/ 2147483647 w 3748"/>
                  <a:gd name="T3" fmla="*/ 2147483647 h 4158"/>
                  <a:gd name="T4" fmla="*/ 2147483647 w 3748"/>
                  <a:gd name="T5" fmla="*/ 2147483647 h 4158"/>
                  <a:gd name="T6" fmla="*/ 2147483647 w 3748"/>
                  <a:gd name="T7" fmla="*/ 2147483647 h 4158"/>
                  <a:gd name="T8" fmla="*/ 2147483647 w 3748"/>
                  <a:gd name="T9" fmla="*/ 0 h 4158"/>
                  <a:gd name="T10" fmla="*/ 2147483647 w 3748"/>
                  <a:gd name="T11" fmla="*/ 2147483647 h 4158"/>
                  <a:gd name="T12" fmla="*/ 2147483647 w 3748"/>
                  <a:gd name="T13" fmla="*/ 2147483647 h 4158"/>
                  <a:gd name="T14" fmla="*/ 2147483647 w 3748"/>
                  <a:gd name="T15" fmla="*/ 2147483647 h 4158"/>
                  <a:gd name="T16" fmla="*/ 2147483647 w 3748"/>
                  <a:gd name="T17" fmla="*/ 2147483647 h 4158"/>
                  <a:gd name="T18" fmla="*/ 2147483647 w 3748"/>
                  <a:gd name="T19" fmla="*/ 2147483647 h 4158"/>
                  <a:gd name="T20" fmla="*/ 2147483647 w 3748"/>
                  <a:gd name="T21" fmla="*/ 2147483647 h 4158"/>
                  <a:gd name="T22" fmla="*/ 2147483647 w 3748"/>
                  <a:gd name="T23" fmla="*/ 2147483647 h 4158"/>
                  <a:gd name="T24" fmla="*/ 2147483647 w 3748"/>
                  <a:gd name="T25" fmla="*/ 2147483647 h 4158"/>
                  <a:gd name="T26" fmla="*/ 2147483647 w 3748"/>
                  <a:gd name="T27" fmla="*/ 2147483647 h 4158"/>
                  <a:gd name="T28" fmla="*/ 2147483647 w 3748"/>
                  <a:gd name="T29" fmla="*/ 2147483647 h 4158"/>
                  <a:gd name="T30" fmla="*/ 2147483647 w 3748"/>
                  <a:gd name="T31" fmla="*/ 2147483647 h 4158"/>
                  <a:gd name="T32" fmla="*/ 2147483647 w 3748"/>
                  <a:gd name="T33" fmla="*/ 2147483647 h 4158"/>
                  <a:gd name="T34" fmla="*/ 2147483647 w 3748"/>
                  <a:gd name="T35" fmla="*/ 2147483647 h 4158"/>
                  <a:gd name="T36" fmla="*/ 2147483647 w 3748"/>
                  <a:gd name="T37" fmla="*/ 2147483647 h 4158"/>
                  <a:gd name="T38" fmla="*/ 2147483647 w 3748"/>
                  <a:gd name="T39" fmla="*/ 2147483647 h 4158"/>
                  <a:gd name="T40" fmla="*/ 2147483647 w 3748"/>
                  <a:gd name="T41" fmla="*/ 2147483647 h 4158"/>
                  <a:gd name="T42" fmla="*/ 2147483647 w 3748"/>
                  <a:gd name="T43" fmla="*/ 2147483647 h 4158"/>
                  <a:gd name="T44" fmla="*/ 2147483647 w 3748"/>
                  <a:gd name="T45" fmla="*/ 2147483647 h 4158"/>
                  <a:gd name="T46" fmla="*/ 2147483647 w 3748"/>
                  <a:gd name="T47" fmla="*/ 2147483647 h 4158"/>
                  <a:gd name="T48" fmla="*/ 2147483647 w 3748"/>
                  <a:gd name="T49" fmla="*/ 2147483647 h 4158"/>
                  <a:gd name="T50" fmla="*/ 2147483647 w 3748"/>
                  <a:gd name="T51" fmla="*/ 2147483647 h 4158"/>
                  <a:gd name="T52" fmla="*/ 2147483647 w 3748"/>
                  <a:gd name="T53" fmla="*/ 2147483647 h 4158"/>
                  <a:gd name="T54" fmla="*/ 2147483647 w 3748"/>
                  <a:gd name="T55" fmla="*/ 2147483647 h 4158"/>
                  <a:gd name="T56" fmla="*/ 2147483647 w 3748"/>
                  <a:gd name="T57" fmla="*/ 2147483647 h 4158"/>
                  <a:gd name="T58" fmla="*/ 2147483647 w 3748"/>
                  <a:gd name="T59" fmla="*/ 2147483647 h 4158"/>
                  <a:gd name="T60" fmla="*/ 2147483647 w 3748"/>
                  <a:gd name="T61" fmla="*/ 2147483647 h 4158"/>
                  <a:gd name="T62" fmla="*/ 2147483647 w 3748"/>
                  <a:gd name="T63" fmla="*/ 2147483647 h 4158"/>
                  <a:gd name="T64" fmla="*/ 2147483647 w 3748"/>
                  <a:gd name="T65" fmla="*/ 2147483647 h 4158"/>
                  <a:gd name="T66" fmla="*/ 2147483647 w 3748"/>
                  <a:gd name="T67" fmla="*/ 2147483647 h 4158"/>
                  <a:gd name="T68" fmla="*/ 2147483647 w 3748"/>
                  <a:gd name="T69" fmla="*/ 2147483647 h 4158"/>
                  <a:gd name="T70" fmla="*/ 2147483647 w 3748"/>
                  <a:gd name="T71" fmla="*/ 2147483647 h 4158"/>
                  <a:gd name="T72" fmla="*/ 2147483647 w 3748"/>
                  <a:gd name="T73" fmla="*/ 2147483647 h 4158"/>
                  <a:gd name="T74" fmla="*/ 2147483647 w 3748"/>
                  <a:gd name="T75" fmla="*/ 2147483647 h 4158"/>
                  <a:gd name="T76" fmla="*/ 2147483647 w 3748"/>
                  <a:gd name="T77" fmla="*/ 2147483647 h 4158"/>
                  <a:gd name="T78" fmla="*/ 2147483647 w 3748"/>
                  <a:gd name="T79" fmla="*/ 2147483647 h 4158"/>
                  <a:gd name="T80" fmla="*/ 2147483647 w 3748"/>
                  <a:gd name="T81" fmla="*/ 2147483647 h 4158"/>
                  <a:gd name="T82" fmla="*/ 2147483647 w 3748"/>
                  <a:gd name="T83" fmla="*/ 2147483647 h 4158"/>
                  <a:gd name="T84" fmla="*/ 2147483647 w 3748"/>
                  <a:gd name="T85" fmla="*/ 2147483647 h 4158"/>
                  <a:gd name="T86" fmla="*/ 2147483647 w 3748"/>
                  <a:gd name="T87" fmla="*/ 2147483647 h 4158"/>
                  <a:gd name="T88" fmla="*/ 2147483647 w 3748"/>
                  <a:gd name="T89" fmla="*/ 2147483647 h 4158"/>
                  <a:gd name="T90" fmla="*/ 2147483647 w 3748"/>
                  <a:gd name="T91" fmla="*/ 2147483647 h 4158"/>
                  <a:gd name="T92" fmla="*/ 2147483647 w 3748"/>
                  <a:gd name="T93" fmla="*/ 2147483647 h 4158"/>
                  <a:gd name="T94" fmla="*/ 2147483647 w 3748"/>
                  <a:gd name="T95" fmla="*/ 2147483647 h 4158"/>
                  <a:gd name="T96" fmla="*/ 2147483647 w 3748"/>
                  <a:gd name="T97" fmla="*/ 2147483647 h 4158"/>
                  <a:gd name="T98" fmla="*/ 2147483647 w 3748"/>
                  <a:gd name="T99" fmla="*/ 2147483647 h 4158"/>
                  <a:gd name="T100" fmla="*/ 2147483647 w 3748"/>
                  <a:gd name="T101" fmla="*/ 2147483647 h 4158"/>
                  <a:gd name="T102" fmla="*/ 2147483647 w 3748"/>
                  <a:gd name="T103" fmla="*/ 2147483647 h 4158"/>
                  <a:gd name="T104" fmla="*/ 2147483647 w 3748"/>
                  <a:gd name="T105" fmla="*/ 2147483647 h 4158"/>
                  <a:gd name="T106" fmla="*/ 2147483647 w 3748"/>
                  <a:gd name="T107" fmla="*/ 2147483647 h 4158"/>
                  <a:gd name="T108" fmla="*/ 2147483647 w 3748"/>
                  <a:gd name="T109" fmla="*/ 2147483647 h 4158"/>
                  <a:gd name="T110" fmla="*/ 2147483647 w 3748"/>
                  <a:gd name="T111" fmla="*/ 2147483647 h 4158"/>
                  <a:gd name="T112" fmla="*/ 2147483647 w 3748"/>
                  <a:gd name="T113" fmla="*/ 2147483647 h 4158"/>
                  <a:gd name="T114" fmla="*/ 2147483647 w 3748"/>
                  <a:gd name="T115" fmla="*/ 2147483647 h 4158"/>
                  <a:gd name="T116" fmla="*/ 2147483647 w 3748"/>
                  <a:gd name="T117" fmla="*/ 2147483647 h 4158"/>
                  <a:gd name="T118" fmla="*/ 2147483647 w 3748"/>
                  <a:gd name="T119" fmla="*/ 2147483647 h 4158"/>
                  <a:gd name="T120" fmla="*/ 2147483647 w 3748"/>
                  <a:gd name="T121" fmla="*/ 2147483647 h 4158"/>
                  <a:gd name="T122" fmla="*/ 2147483647 w 3748"/>
                  <a:gd name="T123" fmla="*/ 2147483647 h 4158"/>
                  <a:gd name="T124" fmla="*/ 2147483647 w 3748"/>
                  <a:gd name="T125" fmla="*/ 2147483647 h 415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48" h="4158">
                    <a:moveTo>
                      <a:pt x="387" y="555"/>
                    </a:moveTo>
                    <a:lnTo>
                      <a:pt x="376" y="507"/>
                    </a:lnTo>
                    <a:lnTo>
                      <a:pt x="337" y="461"/>
                    </a:lnTo>
                    <a:lnTo>
                      <a:pt x="320" y="420"/>
                    </a:lnTo>
                    <a:lnTo>
                      <a:pt x="328" y="348"/>
                    </a:lnTo>
                    <a:lnTo>
                      <a:pt x="359" y="318"/>
                    </a:lnTo>
                    <a:lnTo>
                      <a:pt x="452" y="255"/>
                    </a:lnTo>
                    <a:lnTo>
                      <a:pt x="509" y="187"/>
                    </a:lnTo>
                    <a:lnTo>
                      <a:pt x="517" y="81"/>
                    </a:lnTo>
                    <a:cubicBezTo>
                      <a:pt x="517" y="81"/>
                      <a:pt x="559" y="85"/>
                      <a:pt x="565" y="96"/>
                    </a:cubicBezTo>
                    <a:cubicBezTo>
                      <a:pt x="572" y="107"/>
                      <a:pt x="576" y="129"/>
                      <a:pt x="576" y="129"/>
                    </a:cubicBezTo>
                    <a:lnTo>
                      <a:pt x="574" y="166"/>
                    </a:lnTo>
                    <a:lnTo>
                      <a:pt x="600" y="166"/>
                    </a:lnTo>
                    <a:lnTo>
                      <a:pt x="613" y="142"/>
                    </a:lnTo>
                    <a:lnTo>
                      <a:pt x="650" y="148"/>
                    </a:lnTo>
                    <a:lnTo>
                      <a:pt x="661" y="174"/>
                    </a:lnTo>
                    <a:lnTo>
                      <a:pt x="707" y="172"/>
                    </a:lnTo>
                    <a:lnTo>
                      <a:pt x="720" y="153"/>
                    </a:lnTo>
                    <a:lnTo>
                      <a:pt x="759" y="157"/>
                    </a:lnTo>
                    <a:lnTo>
                      <a:pt x="778" y="172"/>
                    </a:lnTo>
                    <a:cubicBezTo>
                      <a:pt x="778" y="172"/>
                      <a:pt x="824" y="185"/>
                      <a:pt x="854" y="146"/>
                    </a:cubicBezTo>
                    <a:cubicBezTo>
                      <a:pt x="885" y="107"/>
                      <a:pt x="872" y="50"/>
                      <a:pt x="872" y="50"/>
                    </a:cubicBezTo>
                    <a:lnTo>
                      <a:pt x="933" y="33"/>
                    </a:lnTo>
                    <a:lnTo>
                      <a:pt x="965" y="18"/>
                    </a:lnTo>
                    <a:lnTo>
                      <a:pt x="998" y="0"/>
                    </a:lnTo>
                    <a:lnTo>
                      <a:pt x="1022" y="18"/>
                    </a:lnTo>
                    <a:lnTo>
                      <a:pt x="1068" y="18"/>
                    </a:lnTo>
                    <a:lnTo>
                      <a:pt x="1105" y="7"/>
                    </a:lnTo>
                    <a:lnTo>
                      <a:pt x="1137" y="46"/>
                    </a:lnTo>
                    <a:lnTo>
                      <a:pt x="1148" y="81"/>
                    </a:lnTo>
                    <a:lnTo>
                      <a:pt x="1187" y="85"/>
                    </a:lnTo>
                    <a:lnTo>
                      <a:pt x="1235" y="122"/>
                    </a:lnTo>
                    <a:lnTo>
                      <a:pt x="1250" y="155"/>
                    </a:lnTo>
                    <a:lnTo>
                      <a:pt x="1278" y="192"/>
                    </a:lnTo>
                    <a:lnTo>
                      <a:pt x="1305" y="192"/>
                    </a:lnTo>
                    <a:lnTo>
                      <a:pt x="1365" y="261"/>
                    </a:lnTo>
                    <a:lnTo>
                      <a:pt x="1409" y="283"/>
                    </a:lnTo>
                    <a:lnTo>
                      <a:pt x="1431" y="296"/>
                    </a:lnTo>
                    <a:lnTo>
                      <a:pt x="1431" y="346"/>
                    </a:lnTo>
                    <a:lnTo>
                      <a:pt x="1500" y="359"/>
                    </a:lnTo>
                    <a:lnTo>
                      <a:pt x="1502" y="387"/>
                    </a:lnTo>
                    <a:lnTo>
                      <a:pt x="1559" y="427"/>
                    </a:lnTo>
                    <a:lnTo>
                      <a:pt x="1607" y="485"/>
                    </a:lnTo>
                    <a:lnTo>
                      <a:pt x="1652" y="527"/>
                    </a:lnTo>
                    <a:lnTo>
                      <a:pt x="1663" y="583"/>
                    </a:lnTo>
                    <a:lnTo>
                      <a:pt x="1726" y="600"/>
                    </a:lnTo>
                    <a:lnTo>
                      <a:pt x="1748" y="633"/>
                    </a:lnTo>
                    <a:lnTo>
                      <a:pt x="1748" y="677"/>
                    </a:lnTo>
                    <a:lnTo>
                      <a:pt x="1713" y="707"/>
                    </a:lnTo>
                    <a:lnTo>
                      <a:pt x="1705" y="742"/>
                    </a:lnTo>
                    <a:lnTo>
                      <a:pt x="1722" y="768"/>
                    </a:lnTo>
                    <a:lnTo>
                      <a:pt x="1724" y="794"/>
                    </a:lnTo>
                    <a:lnTo>
                      <a:pt x="1716" y="818"/>
                    </a:lnTo>
                    <a:lnTo>
                      <a:pt x="1713" y="851"/>
                    </a:lnTo>
                    <a:lnTo>
                      <a:pt x="1809" y="855"/>
                    </a:lnTo>
                    <a:lnTo>
                      <a:pt x="1863" y="822"/>
                    </a:lnTo>
                    <a:lnTo>
                      <a:pt x="1911" y="777"/>
                    </a:lnTo>
                    <a:lnTo>
                      <a:pt x="1929" y="753"/>
                    </a:lnTo>
                    <a:lnTo>
                      <a:pt x="1972" y="744"/>
                    </a:lnTo>
                    <a:lnTo>
                      <a:pt x="1983" y="724"/>
                    </a:lnTo>
                    <a:lnTo>
                      <a:pt x="1972" y="692"/>
                    </a:lnTo>
                    <a:lnTo>
                      <a:pt x="1985" y="659"/>
                    </a:lnTo>
                    <a:lnTo>
                      <a:pt x="2035" y="648"/>
                    </a:lnTo>
                    <a:cubicBezTo>
                      <a:pt x="2050" y="677"/>
                      <a:pt x="2059" y="703"/>
                      <a:pt x="2059" y="703"/>
                    </a:cubicBezTo>
                    <a:lnTo>
                      <a:pt x="2096" y="731"/>
                    </a:lnTo>
                    <a:lnTo>
                      <a:pt x="2135" y="744"/>
                    </a:lnTo>
                    <a:lnTo>
                      <a:pt x="2153" y="770"/>
                    </a:lnTo>
                    <a:lnTo>
                      <a:pt x="2142" y="798"/>
                    </a:lnTo>
                    <a:lnTo>
                      <a:pt x="2183" y="801"/>
                    </a:lnTo>
                    <a:lnTo>
                      <a:pt x="2187" y="827"/>
                    </a:lnTo>
                    <a:lnTo>
                      <a:pt x="2213" y="855"/>
                    </a:lnTo>
                    <a:lnTo>
                      <a:pt x="2218" y="887"/>
                    </a:lnTo>
                    <a:lnTo>
                      <a:pt x="2207" y="916"/>
                    </a:lnTo>
                    <a:lnTo>
                      <a:pt x="2259" y="927"/>
                    </a:lnTo>
                    <a:lnTo>
                      <a:pt x="2276" y="966"/>
                    </a:lnTo>
                    <a:lnTo>
                      <a:pt x="2283" y="1005"/>
                    </a:lnTo>
                    <a:lnTo>
                      <a:pt x="2307" y="1033"/>
                    </a:lnTo>
                    <a:lnTo>
                      <a:pt x="2331" y="1027"/>
                    </a:lnTo>
                    <a:lnTo>
                      <a:pt x="2379" y="1066"/>
                    </a:lnTo>
                    <a:lnTo>
                      <a:pt x="2420" y="1064"/>
                    </a:lnTo>
                    <a:lnTo>
                      <a:pt x="2427" y="1035"/>
                    </a:lnTo>
                    <a:lnTo>
                      <a:pt x="2459" y="1035"/>
                    </a:lnTo>
                    <a:lnTo>
                      <a:pt x="2496" y="1109"/>
                    </a:lnTo>
                    <a:lnTo>
                      <a:pt x="2537" y="1120"/>
                    </a:lnTo>
                    <a:lnTo>
                      <a:pt x="2577" y="1166"/>
                    </a:lnTo>
                    <a:lnTo>
                      <a:pt x="2609" y="1170"/>
                    </a:lnTo>
                    <a:lnTo>
                      <a:pt x="2633" y="1153"/>
                    </a:lnTo>
                    <a:lnTo>
                      <a:pt x="2661" y="1166"/>
                    </a:lnTo>
                    <a:lnTo>
                      <a:pt x="2690" y="1194"/>
                    </a:lnTo>
                    <a:lnTo>
                      <a:pt x="2744" y="1198"/>
                    </a:lnTo>
                    <a:lnTo>
                      <a:pt x="2792" y="1246"/>
                    </a:lnTo>
                    <a:lnTo>
                      <a:pt x="2848" y="1298"/>
                    </a:lnTo>
                    <a:lnTo>
                      <a:pt x="2846" y="1377"/>
                    </a:lnTo>
                    <a:lnTo>
                      <a:pt x="2940" y="1446"/>
                    </a:lnTo>
                    <a:lnTo>
                      <a:pt x="2990" y="1518"/>
                    </a:lnTo>
                    <a:lnTo>
                      <a:pt x="3040" y="1553"/>
                    </a:lnTo>
                    <a:lnTo>
                      <a:pt x="3068" y="1564"/>
                    </a:lnTo>
                    <a:lnTo>
                      <a:pt x="3111" y="1564"/>
                    </a:lnTo>
                    <a:lnTo>
                      <a:pt x="3122" y="1547"/>
                    </a:lnTo>
                    <a:lnTo>
                      <a:pt x="3137" y="1550"/>
                    </a:lnTo>
                    <a:lnTo>
                      <a:pt x="3139" y="1574"/>
                    </a:lnTo>
                    <a:lnTo>
                      <a:pt x="3158" y="1549"/>
                    </a:lnTo>
                    <a:lnTo>
                      <a:pt x="3186" y="1557"/>
                    </a:lnTo>
                    <a:lnTo>
                      <a:pt x="3181" y="1598"/>
                    </a:lnTo>
                    <a:lnTo>
                      <a:pt x="3224" y="1598"/>
                    </a:lnTo>
                    <a:lnTo>
                      <a:pt x="3281" y="1672"/>
                    </a:lnTo>
                    <a:lnTo>
                      <a:pt x="3353" y="1701"/>
                    </a:lnTo>
                    <a:lnTo>
                      <a:pt x="3366" y="1733"/>
                    </a:lnTo>
                    <a:lnTo>
                      <a:pt x="3355" y="1759"/>
                    </a:lnTo>
                    <a:lnTo>
                      <a:pt x="3400" y="1818"/>
                    </a:lnTo>
                    <a:lnTo>
                      <a:pt x="3431" y="1874"/>
                    </a:lnTo>
                    <a:lnTo>
                      <a:pt x="3433" y="1942"/>
                    </a:lnTo>
                    <a:lnTo>
                      <a:pt x="3435" y="1978"/>
                    </a:lnTo>
                    <a:lnTo>
                      <a:pt x="3449" y="1988"/>
                    </a:lnTo>
                    <a:cubicBezTo>
                      <a:pt x="3449" y="1988"/>
                      <a:pt x="3467" y="2015"/>
                      <a:pt x="3469" y="2019"/>
                    </a:cubicBezTo>
                    <a:cubicBezTo>
                      <a:pt x="3470" y="2023"/>
                      <a:pt x="3488" y="2052"/>
                      <a:pt x="3488" y="2052"/>
                    </a:cubicBezTo>
                    <a:cubicBezTo>
                      <a:pt x="3488" y="2052"/>
                      <a:pt x="3505" y="2068"/>
                      <a:pt x="3511" y="2071"/>
                    </a:cubicBezTo>
                    <a:cubicBezTo>
                      <a:pt x="3516" y="2073"/>
                      <a:pt x="3545" y="2083"/>
                      <a:pt x="3545" y="2083"/>
                    </a:cubicBezTo>
                    <a:lnTo>
                      <a:pt x="3560" y="2098"/>
                    </a:lnTo>
                    <a:lnTo>
                      <a:pt x="3578" y="2127"/>
                    </a:lnTo>
                    <a:lnTo>
                      <a:pt x="3618" y="2149"/>
                    </a:lnTo>
                    <a:lnTo>
                      <a:pt x="3657" y="2176"/>
                    </a:lnTo>
                    <a:lnTo>
                      <a:pt x="3702" y="2174"/>
                    </a:lnTo>
                    <a:lnTo>
                      <a:pt x="3748" y="2218"/>
                    </a:lnTo>
                    <a:lnTo>
                      <a:pt x="3746" y="2278"/>
                    </a:lnTo>
                    <a:lnTo>
                      <a:pt x="3718" y="2287"/>
                    </a:lnTo>
                    <a:lnTo>
                      <a:pt x="3699" y="2298"/>
                    </a:lnTo>
                    <a:lnTo>
                      <a:pt x="3657" y="2313"/>
                    </a:lnTo>
                    <a:lnTo>
                      <a:pt x="3670" y="2358"/>
                    </a:lnTo>
                    <a:lnTo>
                      <a:pt x="3667" y="2398"/>
                    </a:lnTo>
                    <a:lnTo>
                      <a:pt x="3622" y="2443"/>
                    </a:lnTo>
                    <a:lnTo>
                      <a:pt x="3621" y="2477"/>
                    </a:lnTo>
                    <a:lnTo>
                      <a:pt x="3518" y="2481"/>
                    </a:lnTo>
                    <a:lnTo>
                      <a:pt x="3464" y="2561"/>
                    </a:lnTo>
                    <a:lnTo>
                      <a:pt x="3429" y="2574"/>
                    </a:lnTo>
                    <a:lnTo>
                      <a:pt x="3412" y="2615"/>
                    </a:lnTo>
                    <a:lnTo>
                      <a:pt x="3434" y="2663"/>
                    </a:lnTo>
                    <a:lnTo>
                      <a:pt x="3401" y="2684"/>
                    </a:lnTo>
                    <a:lnTo>
                      <a:pt x="3425" y="2718"/>
                    </a:lnTo>
                    <a:lnTo>
                      <a:pt x="3453" y="2726"/>
                    </a:lnTo>
                    <a:lnTo>
                      <a:pt x="3461" y="2756"/>
                    </a:lnTo>
                    <a:lnTo>
                      <a:pt x="3439" y="2782"/>
                    </a:lnTo>
                    <a:lnTo>
                      <a:pt x="3443" y="2844"/>
                    </a:lnTo>
                    <a:lnTo>
                      <a:pt x="3452" y="2913"/>
                    </a:lnTo>
                    <a:lnTo>
                      <a:pt x="3477" y="2964"/>
                    </a:lnTo>
                    <a:cubicBezTo>
                      <a:pt x="3477" y="2964"/>
                      <a:pt x="3491" y="2974"/>
                      <a:pt x="3491" y="3004"/>
                    </a:cubicBezTo>
                    <a:cubicBezTo>
                      <a:pt x="3491" y="3033"/>
                      <a:pt x="3458" y="3049"/>
                      <a:pt x="3458" y="3049"/>
                    </a:cubicBezTo>
                    <a:lnTo>
                      <a:pt x="3458" y="3100"/>
                    </a:lnTo>
                    <a:lnTo>
                      <a:pt x="3486" y="3105"/>
                    </a:lnTo>
                    <a:lnTo>
                      <a:pt x="3531" y="3103"/>
                    </a:lnTo>
                    <a:lnTo>
                      <a:pt x="3547" y="3133"/>
                    </a:lnTo>
                    <a:lnTo>
                      <a:pt x="3570" y="3151"/>
                    </a:lnTo>
                    <a:lnTo>
                      <a:pt x="3593" y="3152"/>
                    </a:lnTo>
                    <a:lnTo>
                      <a:pt x="3495" y="3245"/>
                    </a:lnTo>
                    <a:lnTo>
                      <a:pt x="3489" y="3275"/>
                    </a:lnTo>
                    <a:lnTo>
                      <a:pt x="3479" y="3290"/>
                    </a:lnTo>
                    <a:lnTo>
                      <a:pt x="3470" y="3348"/>
                    </a:lnTo>
                    <a:lnTo>
                      <a:pt x="3458" y="3362"/>
                    </a:lnTo>
                    <a:lnTo>
                      <a:pt x="3451" y="3416"/>
                    </a:lnTo>
                    <a:lnTo>
                      <a:pt x="3416" y="3437"/>
                    </a:lnTo>
                    <a:lnTo>
                      <a:pt x="3322" y="3546"/>
                    </a:lnTo>
                    <a:lnTo>
                      <a:pt x="3274" y="3607"/>
                    </a:lnTo>
                    <a:lnTo>
                      <a:pt x="3278" y="3638"/>
                    </a:lnTo>
                    <a:lnTo>
                      <a:pt x="3285" y="3665"/>
                    </a:lnTo>
                    <a:lnTo>
                      <a:pt x="3257" y="3694"/>
                    </a:lnTo>
                    <a:lnTo>
                      <a:pt x="3128" y="3773"/>
                    </a:lnTo>
                    <a:lnTo>
                      <a:pt x="3047" y="3832"/>
                    </a:lnTo>
                    <a:lnTo>
                      <a:pt x="3007" y="3892"/>
                    </a:lnTo>
                    <a:lnTo>
                      <a:pt x="2986" y="3915"/>
                    </a:lnTo>
                    <a:lnTo>
                      <a:pt x="2935" y="3922"/>
                    </a:lnTo>
                    <a:lnTo>
                      <a:pt x="2858" y="3946"/>
                    </a:lnTo>
                    <a:lnTo>
                      <a:pt x="2757" y="4002"/>
                    </a:lnTo>
                    <a:lnTo>
                      <a:pt x="2729" y="4014"/>
                    </a:lnTo>
                    <a:lnTo>
                      <a:pt x="2703" y="4021"/>
                    </a:lnTo>
                    <a:lnTo>
                      <a:pt x="2680" y="4051"/>
                    </a:lnTo>
                    <a:lnTo>
                      <a:pt x="2621" y="4053"/>
                    </a:lnTo>
                    <a:lnTo>
                      <a:pt x="2605" y="4074"/>
                    </a:lnTo>
                    <a:lnTo>
                      <a:pt x="2577" y="4074"/>
                    </a:lnTo>
                    <a:lnTo>
                      <a:pt x="2559" y="4098"/>
                    </a:lnTo>
                    <a:lnTo>
                      <a:pt x="2518" y="4102"/>
                    </a:lnTo>
                    <a:lnTo>
                      <a:pt x="2470" y="4131"/>
                    </a:lnTo>
                    <a:cubicBezTo>
                      <a:pt x="2470" y="4131"/>
                      <a:pt x="2470" y="4158"/>
                      <a:pt x="2455" y="4158"/>
                    </a:cubicBezTo>
                    <a:cubicBezTo>
                      <a:pt x="2439" y="4158"/>
                      <a:pt x="2435" y="4133"/>
                      <a:pt x="2435" y="4133"/>
                    </a:cubicBezTo>
                    <a:lnTo>
                      <a:pt x="2423" y="4117"/>
                    </a:lnTo>
                    <a:lnTo>
                      <a:pt x="2386" y="4112"/>
                    </a:lnTo>
                    <a:cubicBezTo>
                      <a:pt x="2386" y="4112"/>
                      <a:pt x="2364" y="4079"/>
                      <a:pt x="2355" y="4079"/>
                    </a:cubicBezTo>
                    <a:cubicBezTo>
                      <a:pt x="2346" y="4079"/>
                      <a:pt x="2309" y="4074"/>
                      <a:pt x="2309" y="4074"/>
                    </a:cubicBezTo>
                    <a:lnTo>
                      <a:pt x="2282" y="4086"/>
                    </a:lnTo>
                    <a:lnTo>
                      <a:pt x="2222" y="4081"/>
                    </a:lnTo>
                    <a:lnTo>
                      <a:pt x="2173" y="4032"/>
                    </a:lnTo>
                    <a:lnTo>
                      <a:pt x="2131" y="4004"/>
                    </a:lnTo>
                    <a:lnTo>
                      <a:pt x="2016" y="3997"/>
                    </a:lnTo>
                    <a:lnTo>
                      <a:pt x="1967" y="3979"/>
                    </a:lnTo>
                    <a:lnTo>
                      <a:pt x="1897" y="3979"/>
                    </a:lnTo>
                    <a:lnTo>
                      <a:pt x="1876" y="3993"/>
                    </a:lnTo>
                    <a:lnTo>
                      <a:pt x="1836" y="3988"/>
                    </a:lnTo>
                    <a:lnTo>
                      <a:pt x="1783" y="4018"/>
                    </a:lnTo>
                    <a:lnTo>
                      <a:pt x="1731" y="4042"/>
                    </a:lnTo>
                    <a:lnTo>
                      <a:pt x="1689" y="4081"/>
                    </a:lnTo>
                    <a:lnTo>
                      <a:pt x="1607" y="4077"/>
                    </a:lnTo>
                    <a:lnTo>
                      <a:pt x="1561" y="4063"/>
                    </a:lnTo>
                    <a:lnTo>
                      <a:pt x="1526" y="4095"/>
                    </a:lnTo>
                    <a:lnTo>
                      <a:pt x="1497" y="4093"/>
                    </a:lnTo>
                    <a:lnTo>
                      <a:pt x="1455" y="4056"/>
                    </a:lnTo>
                    <a:lnTo>
                      <a:pt x="1416" y="4032"/>
                    </a:lnTo>
                    <a:lnTo>
                      <a:pt x="1430" y="4012"/>
                    </a:lnTo>
                    <a:lnTo>
                      <a:pt x="1453" y="4005"/>
                    </a:lnTo>
                    <a:cubicBezTo>
                      <a:pt x="1453" y="4005"/>
                      <a:pt x="1446" y="3977"/>
                      <a:pt x="1435" y="3974"/>
                    </a:cubicBezTo>
                    <a:cubicBezTo>
                      <a:pt x="1425" y="3970"/>
                      <a:pt x="1372" y="3969"/>
                      <a:pt x="1372" y="3969"/>
                    </a:cubicBezTo>
                    <a:lnTo>
                      <a:pt x="1317" y="3967"/>
                    </a:lnTo>
                    <a:lnTo>
                      <a:pt x="1276" y="3937"/>
                    </a:lnTo>
                    <a:cubicBezTo>
                      <a:pt x="1276" y="3937"/>
                      <a:pt x="1210" y="3930"/>
                      <a:pt x="1198" y="3929"/>
                    </a:cubicBezTo>
                    <a:cubicBezTo>
                      <a:pt x="1185" y="3927"/>
                      <a:pt x="1114" y="3885"/>
                      <a:pt x="1105" y="3885"/>
                    </a:cubicBezTo>
                    <a:cubicBezTo>
                      <a:pt x="1096" y="3885"/>
                      <a:pt x="1079" y="3876"/>
                      <a:pt x="1079" y="3876"/>
                    </a:cubicBezTo>
                    <a:lnTo>
                      <a:pt x="1070" y="3848"/>
                    </a:lnTo>
                    <a:lnTo>
                      <a:pt x="965" y="3759"/>
                    </a:lnTo>
                    <a:lnTo>
                      <a:pt x="920" y="3708"/>
                    </a:lnTo>
                    <a:lnTo>
                      <a:pt x="885" y="3707"/>
                    </a:lnTo>
                    <a:lnTo>
                      <a:pt x="850" y="3696"/>
                    </a:lnTo>
                    <a:lnTo>
                      <a:pt x="750" y="3696"/>
                    </a:lnTo>
                    <a:lnTo>
                      <a:pt x="708" y="3693"/>
                    </a:lnTo>
                    <a:lnTo>
                      <a:pt x="692" y="3703"/>
                    </a:lnTo>
                    <a:lnTo>
                      <a:pt x="661" y="3701"/>
                    </a:lnTo>
                    <a:lnTo>
                      <a:pt x="633" y="3715"/>
                    </a:lnTo>
                    <a:lnTo>
                      <a:pt x="607" y="3703"/>
                    </a:lnTo>
                    <a:lnTo>
                      <a:pt x="588" y="3689"/>
                    </a:lnTo>
                    <a:lnTo>
                      <a:pt x="561" y="3699"/>
                    </a:lnTo>
                    <a:lnTo>
                      <a:pt x="547" y="3719"/>
                    </a:lnTo>
                    <a:lnTo>
                      <a:pt x="483" y="3734"/>
                    </a:lnTo>
                    <a:cubicBezTo>
                      <a:pt x="483" y="3734"/>
                      <a:pt x="439" y="3745"/>
                      <a:pt x="428" y="3743"/>
                    </a:cubicBezTo>
                    <a:cubicBezTo>
                      <a:pt x="418" y="3741"/>
                      <a:pt x="374" y="3684"/>
                      <a:pt x="374" y="3684"/>
                    </a:cubicBezTo>
                    <a:lnTo>
                      <a:pt x="367" y="3637"/>
                    </a:lnTo>
                    <a:lnTo>
                      <a:pt x="306" y="3572"/>
                    </a:lnTo>
                    <a:lnTo>
                      <a:pt x="285" y="3544"/>
                    </a:lnTo>
                    <a:lnTo>
                      <a:pt x="254" y="3542"/>
                    </a:lnTo>
                    <a:cubicBezTo>
                      <a:pt x="254" y="3542"/>
                      <a:pt x="255" y="3505"/>
                      <a:pt x="243" y="3500"/>
                    </a:cubicBezTo>
                    <a:cubicBezTo>
                      <a:pt x="231" y="3495"/>
                      <a:pt x="205" y="3483"/>
                      <a:pt x="205" y="3483"/>
                    </a:cubicBezTo>
                    <a:lnTo>
                      <a:pt x="147" y="3472"/>
                    </a:lnTo>
                    <a:lnTo>
                      <a:pt x="137" y="3457"/>
                    </a:lnTo>
                    <a:lnTo>
                      <a:pt x="133" y="3411"/>
                    </a:lnTo>
                    <a:lnTo>
                      <a:pt x="110" y="3380"/>
                    </a:lnTo>
                    <a:lnTo>
                      <a:pt x="81" y="3332"/>
                    </a:lnTo>
                    <a:cubicBezTo>
                      <a:pt x="81" y="3332"/>
                      <a:pt x="56" y="3310"/>
                      <a:pt x="47" y="3308"/>
                    </a:cubicBezTo>
                    <a:cubicBezTo>
                      <a:pt x="39" y="3306"/>
                      <a:pt x="14" y="3280"/>
                      <a:pt x="14" y="3280"/>
                    </a:cubicBezTo>
                    <a:lnTo>
                      <a:pt x="9" y="3233"/>
                    </a:lnTo>
                    <a:lnTo>
                      <a:pt x="2" y="3135"/>
                    </a:lnTo>
                    <a:lnTo>
                      <a:pt x="0" y="3074"/>
                    </a:lnTo>
                    <a:lnTo>
                      <a:pt x="2" y="2906"/>
                    </a:lnTo>
                    <a:lnTo>
                      <a:pt x="21" y="2892"/>
                    </a:lnTo>
                    <a:lnTo>
                      <a:pt x="25" y="2845"/>
                    </a:lnTo>
                    <a:lnTo>
                      <a:pt x="53" y="2831"/>
                    </a:lnTo>
                    <a:cubicBezTo>
                      <a:pt x="69" y="2823"/>
                      <a:pt x="102" y="2818"/>
                      <a:pt x="102" y="2818"/>
                    </a:cubicBezTo>
                    <a:lnTo>
                      <a:pt x="122" y="2790"/>
                    </a:lnTo>
                    <a:cubicBezTo>
                      <a:pt x="122" y="2790"/>
                      <a:pt x="114" y="2770"/>
                      <a:pt x="133" y="2761"/>
                    </a:cubicBezTo>
                    <a:cubicBezTo>
                      <a:pt x="152" y="2753"/>
                      <a:pt x="159" y="2756"/>
                      <a:pt x="159" y="2756"/>
                    </a:cubicBezTo>
                    <a:lnTo>
                      <a:pt x="191" y="2768"/>
                    </a:lnTo>
                    <a:lnTo>
                      <a:pt x="217" y="2742"/>
                    </a:lnTo>
                    <a:lnTo>
                      <a:pt x="215" y="2698"/>
                    </a:lnTo>
                    <a:lnTo>
                      <a:pt x="234" y="2689"/>
                    </a:lnTo>
                    <a:lnTo>
                      <a:pt x="196" y="2684"/>
                    </a:lnTo>
                    <a:lnTo>
                      <a:pt x="171" y="2703"/>
                    </a:lnTo>
                    <a:lnTo>
                      <a:pt x="191" y="2722"/>
                    </a:lnTo>
                    <a:lnTo>
                      <a:pt x="185" y="2742"/>
                    </a:lnTo>
                    <a:cubicBezTo>
                      <a:pt x="185" y="2742"/>
                      <a:pt x="158" y="2742"/>
                      <a:pt x="149" y="2742"/>
                    </a:cubicBezTo>
                    <a:cubicBezTo>
                      <a:pt x="140" y="2741"/>
                      <a:pt x="116" y="2749"/>
                      <a:pt x="116" y="2749"/>
                    </a:cubicBezTo>
                    <a:lnTo>
                      <a:pt x="91" y="2778"/>
                    </a:lnTo>
                    <a:lnTo>
                      <a:pt x="74" y="2801"/>
                    </a:lnTo>
                    <a:cubicBezTo>
                      <a:pt x="74" y="2801"/>
                      <a:pt x="44" y="2804"/>
                      <a:pt x="37" y="2794"/>
                    </a:cubicBezTo>
                    <a:cubicBezTo>
                      <a:pt x="30" y="2783"/>
                      <a:pt x="26" y="2764"/>
                      <a:pt x="26" y="2764"/>
                    </a:cubicBezTo>
                    <a:lnTo>
                      <a:pt x="44" y="2736"/>
                    </a:lnTo>
                    <a:lnTo>
                      <a:pt x="42" y="2701"/>
                    </a:lnTo>
                    <a:cubicBezTo>
                      <a:pt x="42" y="2701"/>
                      <a:pt x="16" y="2670"/>
                      <a:pt x="16" y="2656"/>
                    </a:cubicBezTo>
                    <a:cubicBezTo>
                      <a:pt x="16" y="2642"/>
                      <a:pt x="16" y="2612"/>
                      <a:pt x="16" y="2612"/>
                    </a:cubicBezTo>
                    <a:lnTo>
                      <a:pt x="42" y="2595"/>
                    </a:lnTo>
                    <a:lnTo>
                      <a:pt x="82" y="2595"/>
                    </a:lnTo>
                    <a:cubicBezTo>
                      <a:pt x="82" y="2595"/>
                      <a:pt x="112" y="2586"/>
                      <a:pt x="128" y="2575"/>
                    </a:cubicBezTo>
                    <a:cubicBezTo>
                      <a:pt x="144" y="2565"/>
                      <a:pt x="170" y="2547"/>
                      <a:pt x="175" y="2523"/>
                    </a:cubicBezTo>
                    <a:cubicBezTo>
                      <a:pt x="180" y="2499"/>
                      <a:pt x="189" y="2441"/>
                      <a:pt x="189" y="2441"/>
                    </a:cubicBezTo>
                    <a:lnTo>
                      <a:pt x="199" y="2394"/>
                    </a:lnTo>
                    <a:lnTo>
                      <a:pt x="189" y="2317"/>
                    </a:lnTo>
                    <a:lnTo>
                      <a:pt x="161" y="2238"/>
                    </a:lnTo>
                    <a:lnTo>
                      <a:pt x="154" y="2198"/>
                    </a:lnTo>
                    <a:lnTo>
                      <a:pt x="163" y="2175"/>
                    </a:lnTo>
                    <a:lnTo>
                      <a:pt x="163" y="2130"/>
                    </a:lnTo>
                    <a:lnTo>
                      <a:pt x="130" y="2046"/>
                    </a:lnTo>
                    <a:lnTo>
                      <a:pt x="131" y="1974"/>
                    </a:lnTo>
                    <a:lnTo>
                      <a:pt x="161" y="1934"/>
                    </a:lnTo>
                    <a:lnTo>
                      <a:pt x="199" y="1897"/>
                    </a:lnTo>
                    <a:lnTo>
                      <a:pt x="189" y="1850"/>
                    </a:lnTo>
                    <a:lnTo>
                      <a:pt x="138" y="1805"/>
                    </a:lnTo>
                    <a:lnTo>
                      <a:pt x="144" y="1754"/>
                    </a:lnTo>
                    <a:lnTo>
                      <a:pt x="154" y="1682"/>
                    </a:lnTo>
                    <a:lnTo>
                      <a:pt x="166" y="1649"/>
                    </a:lnTo>
                    <a:lnTo>
                      <a:pt x="163" y="1605"/>
                    </a:lnTo>
                    <a:lnTo>
                      <a:pt x="126" y="1572"/>
                    </a:lnTo>
                    <a:cubicBezTo>
                      <a:pt x="126" y="1572"/>
                      <a:pt x="117" y="1548"/>
                      <a:pt x="124" y="1530"/>
                    </a:cubicBezTo>
                    <a:cubicBezTo>
                      <a:pt x="131" y="1513"/>
                      <a:pt x="152" y="1509"/>
                      <a:pt x="168" y="1509"/>
                    </a:cubicBezTo>
                    <a:cubicBezTo>
                      <a:pt x="184" y="1509"/>
                      <a:pt x="217" y="1485"/>
                      <a:pt x="219" y="1472"/>
                    </a:cubicBezTo>
                    <a:cubicBezTo>
                      <a:pt x="220" y="1460"/>
                      <a:pt x="234" y="1423"/>
                      <a:pt x="243" y="1395"/>
                    </a:cubicBezTo>
                    <a:cubicBezTo>
                      <a:pt x="252" y="1367"/>
                      <a:pt x="259" y="1334"/>
                      <a:pt x="259" y="1313"/>
                    </a:cubicBezTo>
                    <a:cubicBezTo>
                      <a:pt x="259" y="1292"/>
                      <a:pt x="248" y="1254"/>
                      <a:pt x="248" y="1254"/>
                    </a:cubicBezTo>
                    <a:lnTo>
                      <a:pt x="213" y="1221"/>
                    </a:lnTo>
                    <a:cubicBezTo>
                      <a:pt x="213" y="1221"/>
                      <a:pt x="203" y="1212"/>
                      <a:pt x="203" y="1187"/>
                    </a:cubicBezTo>
                    <a:cubicBezTo>
                      <a:pt x="203" y="1163"/>
                      <a:pt x="222" y="1145"/>
                      <a:pt x="222" y="1145"/>
                    </a:cubicBezTo>
                    <a:lnTo>
                      <a:pt x="250" y="1124"/>
                    </a:lnTo>
                    <a:lnTo>
                      <a:pt x="257" y="1051"/>
                    </a:lnTo>
                    <a:lnTo>
                      <a:pt x="308" y="1000"/>
                    </a:lnTo>
                    <a:lnTo>
                      <a:pt x="308" y="897"/>
                    </a:lnTo>
                    <a:lnTo>
                      <a:pt x="329" y="848"/>
                    </a:lnTo>
                    <a:lnTo>
                      <a:pt x="334" y="770"/>
                    </a:lnTo>
                    <a:lnTo>
                      <a:pt x="317" y="735"/>
                    </a:lnTo>
                    <a:lnTo>
                      <a:pt x="317" y="701"/>
                    </a:lnTo>
                    <a:lnTo>
                      <a:pt x="359" y="693"/>
                    </a:lnTo>
                    <a:lnTo>
                      <a:pt x="392" y="686"/>
                    </a:lnTo>
                    <a:cubicBezTo>
                      <a:pt x="392" y="686"/>
                      <a:pt x="393" y="645"/>
                      <a:pt x="393" y="621"/>
                    </a:cubicBezTo>
                    <a:cubicBezTo>
                      <a:pt x="393" y="597"/>
                      <a:pt x="387" y="555"/>
                      <a:pt x="387" y="555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22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1" name="CaixaDeTexto 120"/>
            <p:cNvSpPr txBox="1"/>
            <p:nvPr/>
          </p:nvSpPr>
          <p:spPr>
            <a:xfrm>
              <a:off x="9231623" y="2026925"/>
              <a:ext cx="876508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Pernambuco</a:t>
              </a:r>
              <a:endParaRPr lang="en-US" sz="9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2" name="CaixaDeTexto 121"/>
            <p:cNvSpPr txBox="1"/>
            <p:nvPr/>
          </p:nvSpPr>
          <p:spPr>
            <a:xfrm>
              <a:off x="6747757" y="2607605"/>
              <a:ext cx="885055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Mato Grosso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3" name="CaixaDeTexto 122"/>
            <p:cNvSpPr txBox="1"/>
            <p:nvPr/>
          </p:nvSpPr>
          <p:spPr>
            <a:xfrm>
              <a:off x="8333365" y="2506853"/>
              <a:ext cx="526075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Bahia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4" name="CaixaDeTexto 123"/>
            <p:cNvSpPr txBox="1"/>
            <p:nvPr/>
          </p:nvSpPr>
          <p:spPr>
            <a:xfrm>
              <a:off x="8322648" y="1889700"/>
              <a:ext cx="494024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Piauí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5" name="CaixaDeTexto 124"/>
            <p:cNvSpPr txBox="1"/>
            <p:nvPr/>
          </p:nvSpPr>
          <p:spPr>
            <a:xfrm>
              <a:off x="7565428" y="2237915"/>
              <a:ext cx="724797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Tocantins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6" name="CaixaDeTexto 125"/>
            <p:cNvSpPr txBox="1"/>
            <p:nvPr/>
          </p:nvSpPr>
          <p:spPr>
            <a:xfrm>
              <a:off x="9179059" y="1743351"/>
              <a:ext cx="1273949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Rio Grande do Norte</a:t>
              </a:r>
              <a:endParaRPr lang="en-US" sz="9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7" name="CaixaDeTexto 126"/>
            <p:cNvSpPr txBox="1"/>
            <p:nvPr/>
          </p:nvSpPr>
          <p:spPr>
            <a:xfrm>
              <a:off x="7435904" y="3544265"/>
              <a:ext cx="735480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São Paulo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1" name="CaixaDeTexto 130"/>
            <p:cNvSpPr txBox="1"/>
            <p:nvPr/>
          </p:nvSpPr>
          <p:spPr>
            <a:xfrm>
              <a:off x="6944983" y="5115389"/>
              <a:ext cx="671378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Uruguay</a:t>
              </a:r>
              <a:endParaRPr lang="en-US" sz="9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2" name="Freeform 168"/>
            <p:cNvSpPr>
              <a:spLocks/>
            </p:cNvSpPr>
            <p:nvPr/>
          </p:nvSpPr>
          <p:spPr bwMode="auto">
            <a:xfrm rot="21381606">
              <a:off x="8235095" y="3540975"/>
              <a:ext cx="416380" cy="296758"/>
            </a:xfrm>
            <a:custGeom>
              <a:avLst/>
              <a:gdLst>
                <a:gd name="T0" fmla="*/ 2147483647 w 3192"/>
                <a:gd name="T1" fmla="*/ 2147483647 h 2109"/>
                <a:gd name="T2" fmla="*/ 2147483647 w 3192"/>
                <a:gd name="T3" fmla="*/ 0 h 2109"/>
                <a:gd name="T4" fmla="*/ 2147483647 w 3192"/>
                <a:gd name="T5" fmla="*/ 0 h 2109"/>
                <a:gd name="T6" fmla="*/ 2147483647 w 3192"/>
                <a:gd name="T7" fmla="*/ 2147483647 h 2109"/>
                <a:gd name="T8" fmla="*/ 2147483647 w 3192"/>
                <a:gd name="T9" fmla="*/ 2147483647 h 2109"/>
                <a:gd name="T10" fmla="*/ 2147483647 w 3192"/>
                <a:gd name="T11" fmla="*/ 2147483647 h 2109"/>
                <a:gd name="T12" fmla="*/ 2147483647 w 3192"/>
                <a:gd name="T13" fmla="*/ 2147483647 h 2109"/>
                <a:gd name="T14" fmla="*/ 2147483647 w 3192"/>
                <a:gd name="T15" fmla="*/ 2147483647 h 2109"/>
                <a:gd name="T16" fmla="*/ 2147483647 w 3192"/>
                <a:gd name="T17" fmla="*/ 2147483647 h 2109"/>
                <a:gd name="T18" fmla="*/ 2147483647 w 3192"/>
                <a:gd name="T19" fmla="*/ 2147483647 h 2109"/>
                <a:gd name="T20" fmla="*/ 2147483647 w 3192"/>
                <a:gd name="T21" fmla="*/ 2147483647 h 2109"/>
                <a:gd name="T22" fmla="*/ 0 w 3192"/>
                <a:gd name="T23" fmla="*/ 2147483647 h 2109"/>
                <a:gd name="T24" fmla="*/ 2147483647 w 3192"/>
                <a:gd name="T25" fmla="*/ 2147483647 h 2109"/>
                <a:gd name="T26" fmla="*/ 2147483647 w 3192"/>
                <a:gd name="T27" fmla="*/ 2147483647 h 2109"/>
                <a:gd name="T28" fmla="*/ 2147483647 w 3192"/>
                <a:gd name="T29" fmla="*/ 2147483647 h 2109"/>
                <a:gd name="T30" fmla="*/ 2147483647 w 3192"/>
                <a:gd name="T31" fmla="*/ 2147483647 h 2109"/>
                <a:gd name="T32" fmla="*/ 2147483647 w 3192"/>
                <a:gd name="T33" fmla="*/ 2147483647 h 2109"/>
                <a:gd name="T34" fmla="*/ 2147483647 w 3192"/>
                <a:gd name="T35" fmla="*/ 2147483647 h 2109"/>
                <a:gd name="T36" fmla="*/ 2147483647 w 3192"/>
                <a:gd name="T37" fmla="*/ 2147483647 h 2109"/>
                <a:gd name="T38" fmla="*/ 2147483647 w 3192"/>
                <a:gd name="T39" fmla="*/ 2147483647 h 2109"/>
                <a:gd name="T40" fmla="*/ 2147483647 w 3192"/>
                <a:gd name="T41" fmla="*/ 2147483647 h 2109"/>
                <a:gd name="T42" fmla="*/ 2147483647 w 3192"/>
                <a:gd name="T43" fmla="*/ 2147483647 h 2109"/>
                <a:gd name="T44" fmla="*/ 2147483647 w 3192"/>
                <a:gd name="T45" fmla="*/ 2147483647 h 2109"/>
                <a:gd name="T46" fmla="*/ 2147483647 w 3192"/>
                <a:gd name="T47" fmla="*/ 2147483647 h 2109"/>
                <a:gd name="T48" fmla="*/ 2147483647 w 3192"/>
                <a:gd name="T49" fmla="*/ 2147483647 h 2109"/>
                <a:gd name="T50" fmla="*/ 2147483647 w 3192"/>
                <a:gd name="T51" fmla="*/ 2147483647 h 2109"/>
                <a:gd name="T52" fmla="*/ 2147483647 w 3192"/>
                <a:gd name="T53" fmla="*/ 2147483647 h 2109"/>
                <a:gd name="T54" fmla="*/ 2147483647 w 3192"/>
                <a:gd name="T55" fmla="*/ 2147483647 h 2109"/>
                <a:gd name="T56" fmla="*/ 2147483647 w 3192"/>
                <a:gd name="T57" fmla="*/ 2147483647 h 2109"/>
                <a:gd name="T58" fmla="*/ 2147483647 w 3192"/>
                <a:gd name="T59" fmla="*/ 2147483647 h 21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192" h="2109">
                  <a:moveTo>
                    <a:pt x="3192" y="438"/>
                  </a:moveTo>
                  <a:cubicBezTo>
                    <a:pt x="2954" y="253"/>
                    <a:pt x="2547" y="478"/>
                    <a:pt x="2583" y="0"/>
                  </a:cubicBezTo>
                  <a:lnTo>
                    <a:pt x="2427" y="0"/>
                  </a:lnTo>
                  <a:cubicBezTo>
                    <a:pt x="2293" y="141"/>
                    <a:pt x="2086" y="386"/>
                    <a:pt x="2086" y="616"/>
                  </a:cubicBezTo>
                  <a:cubicBezTo>
                    <a:pt x="2086" y="832"/>
                    <a:pt x="1581" y="913"/>
                    <a:pt x="1477" y="973"/>
                  </a:cubicBezTo>
                  <a:cubicBezTo>
                    <a:pt x="1343" y="1062"/>
                    <a:pt x="1172" y="951"/>
                    <a:pt x="994" y="951"/>
                  </a:cubicBezTo>
                  <a:cubicBezTo>
                    <a:pt x="861" y="951"/>
                    <a:pt x="683" y="1040"/>
                    <a:pt x="578" y="1077"/>
                  </a:cubicBezTo>
                  <a:cubicBezTo>
                    <a:pt x="348" y="1136"/>
                    <a:pt x="230" y="1151"/>
                    <a:pt x="29" y="1262"/>
                  </a:cubicBezTo>
                  <a:cubicBezTo>
                    <a:pt x="89" y="1285"/>
                    <a:pt x="118" y="1329"/>
                    <a:pt x="163" y="1374"/>
                  </a:cubicBezTo>
                  <a:cubicBezTo>
                    <a:pt x="222" y="1433"/>
                    <a:pt x="482" y="1403"/>
                    <a:pt x="527" y="1418"/>
                  </a:cubicBezTo>
                  <a:cubicBezTo>
                    <a:pt x="601" y="1522"/>
                    <a:pt x="445" y="1589"/>
                    <a:pt x="386" y="1611"/>
                  </a:cubicBezTo>
                  <a:cubicBezTo>
                    <a:pt x="215" y="1670"/>
                    <a:pt x="0" y="1619"/>
                    <a:pt x="0" y="1886"/>
                  </a:cubicBezTo>
                  <a:cubicBezTo>
                    <a:pt x="0" y="1953"/>
                    <a:pt x="133" y="2109"/>
                    <a:pt x="133" y="2109"/>
                  </a:cubicBezTo>
                  <a:cubicBezTo>
                    <a:pt x="192" y="2086"/>
                    <a:pt x="252" y="2057"/>
                    <a:pt x="259" y="1975"/>
                  </a:cubicBezTo>
                  <a:cubicBezTo>
                    <a:pt x="267" y="1953"/>
                    <a:pt x="170" y="1930"/>
                    <a:pt x="170" y="1871"/>
                  </a:cubicBezTo>
                  <a:cubicBezTo>
                    <a:pt x="170" y="1760"/>
                    <a:pt x="289" y="1849"/>
                    <a:pt x="333" y="1752"/>
                  </a:cubicBezTo>
                  <a:cubicBezTo>
                    <a:pt x="438" y="1700"/>
                    <a:pt x="348" y="1841"/>
                    <a:pt x="504" y="1841"/>
                  </a:cubicBezTo>
                  <a:cubicBezTo>
                    <a:pt x="593" y="1841"/>
                    <a:pt x="593" y="1737"/>
                    <a:pt x="727" y="1737"/>
                  </a:cubicBezTo>
                  <a:cubicBezTo>
                    <a:pt x="757" y="1737"/>
                    <a:pt x="823" y="1745"/>
                    <a:pt x="838" y="1775"/>
                  </a:cubicBezTo>
                  <a:cubicBezTo>
                    <a:pt x="823" y="1797"/>
                    <a:pt x="660" y="1782"/>
                    <a:pt x="683" y="1856"/>
                  </a:cubicBezTo>
                  <a:cubicBezTo>
                    <a:pt x="846" y="1856"/>
                    <a:pt x="1091" y="1834"/>
                    <a:pt x="1247" y="1834"/>
                  </a:cubicBezTo>
                  <a:lnTo>
                    <a:pt x="1299" y="1626"/>
                  </a:lnTo>
                  <a:cubicBezTo>
                    <a:pt x="1358" y="1626"/>
                    <a:pt x="1403" y="1582"/>
                    <a:pt x="1403" y="1663"/>
                  </a:cubicBezTo>
                  <a:cubicBezTo>
                    <a:pt x="1403" y="1700"/>
                    <a:pt x="1351" y="1737"/>
                    <a:pt x="1351" y="1797"/>
                  </a:cubicBezTo>
                  <a:cubicBezTo>
                    <a:pt x="1447" y="1879"/>
                    <a:pt x="1885" y="1760"/>
                    <a:pt x="1982" y="1812"/>
                  </a:cubicBezTo>
                  <a:cubicBezTo>
                    <a:pt x="2264" y="1953"/>
                    <a:pt x="2338" y="1760"/>
                    <a:pt x="2279" y="1708"/>
                  </a:cubicBezTo>
                  <a:cubicBezTo>
                    <a:pt x="2212" y="1648"/>
                    <a:pt x="2353" y="1388"/>
                    <a:pt x="2583" y="1314"/>
                  </a:cubicBezTo>
                  <a:cubicBezTo>
                    <a:pt x="2858" y="1225"/>
                    <a:pt x="3140" y="1218"/>
                    <a:pt x="3132" y="988"/>
                  </a:cubicBezTo>
                  <a:cubicBezTo>
                    <a:pt x="3132" y="861"/>
                    <a:pt x="3110" y="728"/>
                    <a:pt x="3132" y="572"/>
                  </a:cubicBezTo>
                  <a:cubicBezTo>
                    <a:pt x="3147" y="527"/>
                    <a:pt x="3169" y="468"/>
                    <a:pt x="3192" y="438"/>
                  </a:cubicBezTo>
                  <a:close/>
                </a:path>
              </a:pathLst>
            </a:custGeom>
            <a:solidFill>
              <a:srgbClr val="33CCCC"/>
            </a:solidFill>
            <a:ln w="6350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lIns="96020" tIns="48011" rIns="96020" bIns="48011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0" name="CaixaDeTexto 289"/>
            <p:cNvSpPr txBox="1"/>
            <p:nvPr/>
          </p:nvSpPr>
          <p:spPr>
            <a:xfrm>
              <a:off x="8439527" y="3639506"/>
              <a:ext cx="949157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Rio de Janeiro</a:t>
              </a:r>
              <a:endParaRPr lang="en-US" sz="9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7" name="CaixaDeTexto 286"/>
            <p:cNvSpPr txBox="1"/>
            <p:nvPr/>
          </p:nvSpPr>
          <p:spPr>
            <a:xfrm>
              <a:off x="7275001" y="3876046"/>
              <a:ext cx="596588" cy="266670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Paraná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9" name="CaixaDeTexto 298"/>
            <p:cNvSpPr txBox="1"/>
            <p:nvPr/>
          </p:nvSpPr>
          <p:spPr>
            <a:xfrm>
              <a:off x="7489442" y="2892919"/>
              <a:ext cx="515386" cy="261538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Goiás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2" name="CaixaDeTexto 141"/>
            <p:cNvSpPr txBox="1"/>
            <p:nvPr/>
          </p:nvSpPr>
          <p:spPr>
            <a:xfrm>
              <a:off x="7802399" y="3216183"/>
              <a:ext cx="874446" cy="261556"/>
            </a:xfrm>
            <a:prstGeom prst="rect">
              <a:avLst/>
            </a:prstGeom>
            <a:noFill/>
          </p:spPr>
          <p:txBody>
            <a:bodyPr wrap="none" lIns="121885" tIns="60942" rIns="121885" bIns="60942" rtlCol="0">
              <a:spAutoFit/>
            </a:bodyPr>
            <a:lstStyle/>
            <a:p>
              <a:r>
                <a:rPr lang="pt-BR" sz="900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Minas Gerais</a:t>
              </a:r>
              <a:endParaRPr lang="en-US" sz="900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Retângulo 5"/>
            <p:cNvSpPr/>
            <p:nvPr/>
          </p:nvSpPr>
          <p:spPr>
            <a:xfrm>
              <a:off x="8759464" y="4191471"/>
              <a:ext cx="18473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pt-BR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1" name="CaixaDeTexto 140"/>
          <p:cNvSpPr txBox="1"/>
          <p:nvPr/>
        </p:nvSpPr>
        <p:spPr>
          <a:xfrm>
            <a:off x="767408" y="332657"/>
            <a:ext cx="70135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Geração Renovável</a:t>
            </a:r>
          </a:p>
        </p:txBody>
      </p:sp>
      <p:sp>
        <p:nvSpPr>
          <p:cNvPr id="156" name="Rectangle 5"/>
          <p:cNvSpPr>
            <a:spLocks noChangeArrowheads="1"/>
          </p:cNvSpPr>
          <p:nvPr/>
        </p:nvSpPr>
        <p:spPr bwMode="auto">
          <a:xfrm>
            <a:off x="479377" y="332657"/>
            <a:ext cx="184330" cy="64633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6" name="Imagem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251" y="2633341"/>
            <a:ext cx="533517" cy="533531"/>
          </a:xfrm>
          <a:prstGeom prst="rect">
            <a:avLst/>
          </a:prstGeom>
        </p:spPr>
      </p:pic>
      <p:pic>
        <p:nvPicPr>
          <p:cNvPr id="27" name="Imagem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433" y="2905343"/>
            <a:ext cx="533517" cy="533531"/>
          </a:xfrm>
          <a:prstGeom prst="rect">
            <a:avLst/>
          </a:prstGeom>
        </p:spPr>
      </p:pic>
      <p:pic>
        <p:nvPicPr>
          <p:cNvPr id="28" name="Imagem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66" y="1124745"/>
            <a:ext cx="533517" cy="533531"/>
          </a:xfrm>
          <a:prstGeom prst="rect">
            <a:avLst/>
          </a:prstGeom>
        </p:spPr>
      </p:pic>
      <p:pic>
        <p:nvPicPr>
          <p:cNvPr id="167" name="Imagem 16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505" y="1664337"/>
            <a:ext cx="533517" cy="533531"/>
          </a:xfrm>
          <a:prstGeom prst="rect">
            <a:avLst/>
          </a:prstGeom>
        </p:spPr>
      </p:pic>
      <p:pic>
        <p:nvPicPr>
          <p:cNvPr id="168" name="Imagem 16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7390" y="3456594"/>
            <a:ext cx="533517" cy="533531"/>
          </a:xfrm>
          <a:prstGeom prst="rect">
            <a:avLst/>
          </a:prstGeom>
        </p:spPr>
      </p:pic>
      <p:sp>
        <p:nvSpPr>
          <p:cNvPr id="169" name="Rectangle 5"/>
          <p:cNvSpPr>
            <a:spLocks noChangeArrowheads="1"/>
          </p:cNvSpPr>
          <p:nvPr/>
        </p:nvSpPr>
        <p:spPr bwMode="auto">
          <a:xfrm>
            <a:off x="12361862" y="922339"/>
            <a:ext cx="520700" cy="515937"/>
          </a:xfrm>
          <a:prstGeom prst="rect">
            <a:avLst/>
          </a:prstGeom>
          <a:solidFill>
            <a:srgbClr val="6AC0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0" name="Rectangle 6"/>
          <p:cNvSpPr>
            <a:spLocks noChangeArrowheads="1"/>
          </p:cNvSpPr>
          <p:nvPr/>
        </p:nvSpPr>
        <p:spPr bwMode="auto">
          <a:xfrm>
            <a:off x="12361862" y="1438275"/>
            <a:ext cx="520700" cy="514350"/>
          </a:xfrm>
          <a:prstGeom prst="rect">
            <a:avLst/>
          </a:prstGeom>
          <a:solidFill>
            <a:srgbClr val="00A6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2" name="Rectangle 7"/>
          <p:cNvSpPr>
            <a:spLocks noChangeArrowheads="1"/>
          </p:cNvSpPr>
          <p:nvPr/>
        </p:nvSpPr>
        <p:spPr bwMode="auto">
          <a:xfrm>
            <a:off x="12361862" y="1952626"/>
            <a:ext cx="520700" cy="515937"/>
          </a:xfrm>
          <a:prstGeom prst="rect">
            <a:avLst/>
          </a:prstGeom>
          <a:solidFill>
            <a:srgbClr val="00BF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3" name="Rectangle 8"/>
          <p:cNvSpPr>
            <a:spLocks noChangeArrowheads="1"/>
          </p:cNvSpPr>
          <p:nvPr/>
        </p:nvSpPr>
        <p:spPr bwMode="auto">
          <a:xfrm>
            <a:off x="12361862" y="2468563"/>
            <a:ext cx="520700" cy="514350"/>
          </a:xfrm>
          <a:prstGeom prst="rect">
            <a:avLst/>
          </a:prstGeom>
          <a:solidFill>
            <a:srgbClr val="0077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4" name="Rectangle 9"/>
          <p:cNvSpPr>
            <a:spLocks noChangeArrowheads="1"/>
          </p:cNvSpPr>
          <p:nvPr/>
        </p:nvSpPr>
        <p:spPr bwMode="auto">
          <a:xfrm>
            <a:off x="12361862" y="2982914"/>
            <a:ext cx="520700" cy="515937"/>
          </a:xfrm>
          <a:prstGeom prst="rect">
            <a:avLst/>
          </a:prstGeom>
          <a:solidFill>
            <a:srgbClr val="F171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5" name="Rectangle 10"/>
          <p:cNvSpPr>
            <a:spLocks noChangeArrowheads="1"/>
          </p:cNvSpPr>
          <p:nvPr/>
        </p:nvSpPr>
        <p:spPr bwMode="auto">
          <a:xfrm>
            <a:off x="12361862" y="3498851"/>
            <a:ext cx="520700" cy="515937"/>
          </a:xfrm>
          <a:prstGeom prst="rect">
            <a:avLst/>
          </a:prstGeom>
          <a:solidFill>
            <a:srgbClr val="E105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6" name="Rectangle 11"/>
          <p:cNvSpPr>
            <a:spLocks noChangeArrowheads="1"/>
          </p:cNvSpPr>
          <p:nvPr/>
        </p:nvSpPr>
        <p:spPr bwMode="auto">
          <a:xfrm>
            <a:off x="12361862" y="4014788"/>
            <a:ext cx="520700" cy="514350"/>
          </a:xfrm>
          <a:prstGeom prst="rect">
            <a:avLst/>
          </a:prstGeom>
          <a:solidFill>
            <a:srgbClr val="BCBC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7" name="Rectangle 12"/>
          <p:cNvSpPr>
            <a:spLocks noChangeArrowheads="1"/>
          </p:cNvSpPr>
          <p:nvPr/>
        </p:nvSpPr>
        <p:spPr bwMode="auto">
          <a:xfrm>
            <a:off x="12361862" y="4529139"/>
            <a:ext cx="520700" cy="515937"/>
          </a:xfrm>
          <a:prstGeom prst="rect">
            <a:avLst/>
          </a:prstGeom>
          <a:solidFill>
            <a:srgbClr val="F15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78" name="Rectangle 13"/>
          <p:cNvSpPr>
            <a:spLocks noChangeArrowheads="1"/>
          </p:cNvSpPr>
          <p:nvPr/>
        </p:nvSpPr>
        <p:spPr bwMode="auto">
          <a:xfrm>
            <a:off x="12361862" y="5045075"/>
            <a:ext cx="520700" cy="514350"/>
          </a:xfrm>
          <a:prstGeom prst="rect">
            <a:avLst/>
          </a:prstGeom>
          <a:solidFill>
            <a:srgbClr val="EE2F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cxnSp>
        <p:nvCxnSpPr>
          <p:cNvPr id="240" name="Conector reto 239"/>
          <p:cNvCxnSpPr/>
          <p:nvPr/>
        </p:nvCxnSpPr>
        <p:spPr>
          <a:xfrm>
            <a:off x="432948" y="6223618"/>
            <a:ext cx="487096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Conector reto 178"/>
          <p:cNvCxnSpPr/>
          <p:nvPr/>
        </p:nvCxnSpPr>
        <p:spPr>
          <a:xfrm>
            <a:off x="10087389" y="5733256"/>
            <a:ext cx="145749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Conector reto 179"/>
          <p:cNvCxnSpPr/>
          <p:nvPr/>
        </p:nvCxnSpPr>
        <p:spPr>
          <a:xfrm>
            <a:off x="5807968" y="5733256"/>
            <a:ext cx="3720722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3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61846" y="307852"/>
            <a:ext cx="1458217" cy="528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738043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9" y="448"/>
            <a:ext cx="12188826" cy="6900197"/>
          </a:xfrm>
          <a:prstGeom prst="rect">
            <a:avLst/>
          </a:prstGeom>
        </p:spPr>
      </p:pic>
      <p:sp>
        <p:nvSpPr>
          <p:cNvPr id="56" name="Retângulo 55"/>
          <p:cNvSpPr/>
          <p:nvPr/>
        </p:nvSpPr>
        <p:spPr>
          <a:xfrm>
            <a:off x="1588" y="1563276"/>
            <a:ext cx="12188826" cy="485383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35995" rIns="71991" bIns="35995" rtlCol="0" anchor="ctr"/>
          <a:lstStyle/>
          <a:p>
            <a:pPr algn="ctr"/>
            <a:endParaRPr lang="pt-BR" sz="2000" dirty="0" err="1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588" y="449"/>
            <a:ext cx="12190413" cy="1581851"/>
          </a:xfrm>
          <a:prstGeom prst="rect">
            <a:avLst/>
          </a:prstGeom>
          <a:solidFill>
            <a:schemeClr val="tx1">
              <a:alpha val="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35995" rIns="71991" bIns="35995" rtlCol="0" anchor="ctr"/>
          <a:lstStyle/>
          <a:p>
            <a:pPr algn="ctr"/>
            <a:endParaRPr lang="pt-BR" sz="2000" dirty="0" err="1">
              <a:solidFill>
                <a:prstClr val="white"/>
              </a:solidFill>
            </a:endParaRPr>
          </a:p>
        </p:txBody>
      </p:sp>
      <p:sp>
        <p:nvSpPr>
          <p:cNvPr id="7" name="Titolo 3"/>
          <p:cNvSpPr txBox="1">
            <a:spLocks/>
          </p:cNvSpPr>
          <p:nvPr/>
        </p:nvSpPr>
        <p:spPr>
          <a:xfrm>
            <a:off x="1812896" y="498379"/>
            <a:ext cx="8556172" cy="479876"/>
          </a:xfrm>
          <a:prstGeom prst="rect">
            <a:avLst/>
          </a:prstGeom>
        </p:spPr>
        <p:txBody>
          <a:bodyPr lIns="121885" tIns="60942" rIns="121885" bIns="60942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/>
          </a:p>
        </p:txBody>
      </p:sp>
      <p:sp>
        <p:nvSpPr>
          <p:cNvPr id="13" name="Title 7"/>
          <p:cNvSpPr txBox="1">
            <a:spLocks/>
          </p:cNvSpPr>
          <p:nvPr/>
        </p:nvSpPr>
        <p:spPr>
          <a:xfrm>
            <a:off x="763391" y="331779"/>
            <a:ext cx="8865755" cy="3948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endParaRPr lang="en-GB" sz="2800" b="1">
              <a:solidFill>
                <a:prstClr val="black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67409" y="1979548"/>
            <a:ext cx="507273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 dirty="0">
                <a:solidFill>
                  <a:prstClr val="black"/>
                </a:solidFill>
              </a:rPr>
              <a:t>EGP é o maior player solar (28,8%)</a:t>
            </a:r>
          </a:p>
        </p:txBody>
      </p:sp>
      <p:sp>
        <p:nvSpPr>
          <p:cNvPr id="12" name="Segnaposto numero diapositiva 1"/>
          <p:cNvSpPr txBox="1">
            <a:spLocks/>
          </p:cNvSpPr>
          <p:nvPr/>
        </p:nvSpPr>
        <p:spPr>
          <a:xfrm>
            <a:off x="10663637" y="6263267"/>
            <a:ext cx="761802" cy="15384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90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00CA9A3-9FF2-47CF-8C5F-52462FBD7B1B}" type="slidenum">
              <a:rPr lang="it-IT">
                <a:solidFill>
                  <a:srgbClr val="C6C6C6">
                    <a:lumMod val="75000"/>
                  </a:srgbClr>
                </a:solidFill>
              </a:rPr>
              <a:pPr/>
              <a:t>4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4" name="Footer Placeholder 1"/>
          <p:cNvSpPr txBox="1">
            <a:spLocks/>
          </p:cNvSpPr>
          <p:nvPr/>
        </p:nvSpPr>
        <p:spPr>
          <a:xfrm>
            <a:off x="1460600" y="6051079"/>
            <a:ext cx="8379817" cy="15384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900" i="1" dirty="0">
                <a:solidFill>
                  <a:schemeClr val="tx1"/>
                </a:solidFill>
              </a:rPr>
              <a:t>Total solar no Brasil 2653 MW</a:t>
            </a:r>
            <a:endParaRPr lang="en-US" sz="800" i="1" dirty="0">
              <a:solidFill>
                <a:schemeClr val="tx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10635" y="318526"/>
            <a:ext cx="195714" cy="728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694863" y="232192"/>
            <a:ext cx="9788052" cy="8925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200"/>
              </a:spcBef>
            </a:pPr>
            <a:r>
              <a:rPr lang="en-GB" sz="3200" b="1" dirty="0">
                <a:solidFill>
                  <a:prstClr val="white"/>
                </a:solidFill>
              </a:rPr>
              <a:t>Ranking </a:t>
            </a:r>
            <a:r>
              <a:rPr lang="en-GB" sz="3200" b="1" dirty="0" err="1">
                <a:solidFill>
                  <a:prstClr val="white"/>
                </a:solidFill>
              </a:rPr>
              <a:t>Energia</a:t>
            </a:r>
            <a:r>
              <a:rPr lang="en-GB" sz="3200" b="1" dirty="0">
                <a:solidFill>
                  <a:prstClr val="white"/>
                </a:solidFill>
              </a:rPr>
              <a:t> Solar </a:t>
            </a:r>
            <a:r>
              <a:rPr lang="en-GB" sz="3200" b="1" dirty="0" err="1">
                <a:solidFill>
                  <a:prstClr val="white"/>
                </a:solidFill>
              </a:rPr>
              <a:t>brasileiro</a:t>
            </a:r>
            <a:endParaRPr lang="en-GB" sz="3200" b="1" dirty="0">
              <a:solidFill>
                <a:prstClr val="white"/>
              </a:solidFill>
            </a:endParaRPr>
          </a:p>
          <a:p>
            <a:r>
              <a:rPr lang="en-GB" sz="2000" b="1" dirty="0">
                <a:solidFill>
                  <a:prstClr val="white"/>
                </a:solidFill>
              </a:rPr>
              <a:t>(MW </a:t>
            </a:r>
            <a:r>
              <a:rPr lang="en-GB" sz="2000" b="1" dirty="0" err="1">
                <a:solidFill>
                  <a:prstClr val="white"/>
                </a:solidFill>
              </a:rPr>
              <a:t>instalados</a:t>
            </a:r>
            <a:r>
              <a:rPr lang="en-GB" sz="2000" b="1" dirty="0">
                <a:solidFill>
                  <a:prstClr val="white"/>
                </a:solidFill>
              </a:rPr>
              <a:t> + </a:t>
            </a:r>
            <a:r>
              <a:rPr lang="en-GB" sz="2000" b="1" dirty="0" err="1">
                <a:solidFill>
                  <a:prstClr val="white"/>
                </a:solidFill>
              </a:rPr>
              <a:t>em</a:t>
            </a:r>
            <a:r>
              <a:rPr lang="en-GB" sz="2000" b="1" dirty="0">
                <a:solidFill>
                  <a:prstClr val="white"/>
                </a:solidFill>
              </a:rPr>
              <a:t> </a:t>
            </a:r>
            <a:r>
              <a:rPr lang="en-GB" sz="2000" b="1" dirty="0" err="1">
                <a:solidFill>
                  <a:prstClr val="white"/>
                </a:solidFill>
              </a:rPr>
              <a:t>construção</a:t>
            </a:r>
            <a:r>
              <a:rPr lang="en-GB" sz="2000" b="1" dirty="0">
                <a:solidFill>
                  <a:prstClr val="white"/>
                </a:solidFill>
              </a:rPr>
              <a:t>)</a:t>
            </a:r>
          </a:p>
        </p:txBody>
      </p:sp>
      <p:graphicFrame>
        <p:nvGraphicFramePr>
          <p:cNvPr id="41" name="Gráfico 40"/>
          <p:cNvGraphicFramePr/>
          <p:nvPr>
            <p:extLst/>
          </p:nvPr>
        </p:nvGraphicFramePr>
        <p:xfrm>
          <a:off x="798721" y="2348880"/>
          <a:ext cx="9976437" cy="353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0" name="Group 5"/>
          <p:cNvGrpSpPr>
            <a:grpSpLocks noChangeAspect="1"/>
          </p:cNvGrpSpPr>
          <p:nvPr/>
        </p:nvGrpSpPr>
        <p:grpSpPr bwMode="auto">
          <a:xfrm>
            <a:off x="10424359" y="318746"/>
            <a:ext cx="1328474" cy="665754"/>
            <a:chOff x="-3449" y="-1785"/>
            <a:chExt cx="6959" cy="3487"/>
          </a:xfrm>
          <a:solidFill>
            <a:schemeClr val="bg1"/>
          </a:solidFill>
        </p:grpSpPr>
        <p:sp>
          <p:nvSpPr>
            <p:cNvPr id="42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5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6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7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8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9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0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1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2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3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4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5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0296313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1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57" y="-11306"/>
            <a:ext cx="12191070" cy="6868860"/>
          </a:xfrm>
          <a:prstGeom prst="rect">
            <a:avLst/>
          </a:prstGeom>
        </p:spPr>
      </p:pic>
      <p:sp>
        <p:nvSpPr>
          <p:cNvPr id="33" name="Retângulo 32"/>
          <p:cNvSpPr/>
          <p:nvPr/>
        </p:nvSpPr>
        <p:spPr>
          <a:xfrm>
            <a:off x="1588" y="449"/>
            <a:ext cx="12190413" cy="1581851"/>
          </a:xfrm>
          <a:prstGeom prst="rect">
            <a:avLst/>
          </a:prstGeom>
          <a:solidFill>
            <a:schemeClr val="tx1">
              <a:alpha val="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35995" rIns="71991" bIns="35995" rtlCol="0" anchor="ctr"/>
          <a:lstStyle/>
          <a:p>
            <a:pPr algn="ctr"/>
            <a:endParaRPr lang="pt-BR" sz="2000" dirty="0" err="1">
              <a:solidFill>
                <a:prstClr val="white"/>
              </a:solidFill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336112" y="1097447"/>
          <a:ext cx="8037824" cy="5062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Conector reto 9"/>
          <p:cNvCxnSpPr/>
          <p:nvPr/>
        </p:nvCxnSpPr>
        <p:spPr>
          <a:xfrm>
            <a:off x="8399955" y="1977985"/>
            <a:ext cx="0" cy="3958492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Gráfico 3"/>
          <p:cNvGraphicFramePr/>
          <p:nvPr>
            <p:extLst/>
          </p:nvPr>
        </p:nvGraphicFramePr>
        <p:xfrm>
          <a:off x="8431455" y="3489410"/>
          <a:ext cx="3568434" cy="1988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Segnaposto numero diapositiva 1"/>
          <p:cNvSpPr txBox="1">
            <a:spLocks/>
          </p:cNvSpPr>
          <p:nvPr/>
        </p:nvSpPr>
        <p:spPr>
          <a:xfrm>
            <a:off x="10663637" y="6263267"/>
            <a:ext cx="761802" cy="15384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90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00CA9A3-9FF2-47CF-8C5F-52462FBD7B1B}" type="slidenum">
              <a:rPr lang="it-IT">
                <a:solidFill>
                  <a:srgbClr val="C6C6C6">
                    <a:lumMod val="75000"/>
                  </a:srgbClr>
                </a:solidFill>
              </a:rPr>
              <a:pPr/>
              <a:t>5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-24680" y="1556793"/>
            <a:ext cx="12188826" cy="485383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35995" rIns="71991" bIns="35995" rtlCol="0" anchor="ctr"/>
          <a:lstStyle/>
          <a:p>
            <a:pPr algn="ctr"/>
            <a:endParaRPr lang="pt-BR" sz="2000" dirty="0" err="1">
              <a:solidFill>
                <a:prstClr val="white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687462" y="1700808"/>
            <a:ext cx="569657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2400" b="1" dirty="0">
                <a:solidFill>
                  <a:prstClr val="black"/>
                </a:solidFill>
              </a:rPr>
              <a:t>EGP é o maior player eólico (8,8%)</a:t>
            </a:r>
          </a:p>
          <a:p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28" name="Footer Placeholder 1"/>
          <p:cNvSpPr txBox="1">
            <a:spLocks/>
          </p:cNvSpPr>
          <p:nvPr/>
        </p:nvSpPr>
        <p:spPr>
          <a:xfrm>
            <a:off x="1892648" y="5697272"/>
            <a:ext cx="8379817" cy="32401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4" indent="-228554">
              <a:buFontTx/>
              <a:buAutoNum type="arabicPeriod"/>
            </a:pPr>
            <a:r>
              <a:rPr lang="en-GB" sz="900" i="1" dirty="0">
                <a:solidFill>
                  <a:schemeClr val="tx1"/>
                </a:solidFill>
              </a:rPr>
              <a:t>Ranking </a:t>
            </a:r>
            <a:r>
              <a:rPr lang="en-GB" sz="900" i="1" dirty="0" err="1">
                <a:solidFill>
                  <a:schemeClr val="tx1"/>
                </a:solidFill>
              </a:rPr>
              <a:t>equivalente</a:t>
            </a:r>
            <a:r>
              <a:rPr lang="en-GB" sz="900" i="1" dirty="0">
                <a:solidFill>
                  <a:schemeClr val="tx1"/>
                </a:solidFill>
              </a:rPr>
              <a:t> a 80% da </a:t>
            </a:r>
            <a:r>
              <a:rPr lang="en-GB" sz="900" i="1" dirty="0" err="1">
                <a:solidFill>
                  <a:schemeClr val="tx1"/>
                </a:solidFill>
              </a:rPr>
              <a:t>capacidade</a:t>
            </a:r>
            <a:r>
              <a:rPr lang="en-GB" sz="900" i="1" dirty="0">
                <a:solidFill>
                  <a:schemeClr val="tx1"/>
                </a:solidFill>
              </a:rPr>
              <a:t> </a:t>
            </a:r>
            <a:r>
              <a:rPr lang="en-GB" sz="900" i="1" dirty="0" err="1">
                <a:solidFill>
                  <a:schemeClr val="tx1"/>
                </a:solidFill>
              </a:rPr>
              <a:t>eólica</a:t>
            </a:r>
            <a:r>
              <a:rPr lang="en-GB" sz="900" i="1" dirty="0">
                <a:solidFill>
                  <a:schemeClr val="tx1"/>
                </a:solidFill>
              </a:rPr>
              <a:t> </a:t>
            </a:r>
            <a:r>
              <a:rPr lang="en-GB" sz="900" i="1" dirty="0" err="1">
                <a:solidFill>
                  <a:schemeClr val="tx1"/>
                </a:solidFill>
              </a:rPr>
              <a:t>brasileira</a:t>
            </a:r>
            <a:r>
              <a:rPr lang="en-GB" sz="900" i="1" dirty="0">
                <a:solidFill>
                  <a:schemeClr val="tx1"/>
                </a:solidFill>
              </a:rPr>
              <a:t>;</a:t>
            </a:r>
          </a:p>
          <a:p>
            <a:r>
              <a:rPr lang="en-GB" sz="900" i="1" dirty="0">
                <a:solidFill>
                  <a:schemeClr val="tx1"/>
                </a:solidFill>
              </a:rPr>
              <a:t>T</a:t>
            </a:r>
            <a:r>
              <a:rPr lang="pt-BR" sz="900" i="1" dirty="0" err="1">
                <a:solidFill>
                  <a:schemeClr val="tx1"/>
                </a:solidFill>
              </a:rPr>
              <a:t>otal</a:t>
            </a:r>
            <a:r>
              <a:rPr lang="pt-BR" sz="900" i="1" dirty="0">
                <a:solidFill>
                  <a:schemeClr val="tx1"/>
                </a:solidFill>
              </a:rPr>
              <a:t> eólico no Brasil 18830 MW</a:t>
            </a:r>
            <a:endParaRPr lang="en-US" sz="900" i="1" dirty="0">
              <a:solidFill>
                <a:schemeClr val="tx1"/>
              </a:solidFill>
            </a:endParaRPr>
          </a:p>
          <a:p>
            <a:endParaRPr lang="en-GB" sz="900" i="1" dirty="0">
              <a:solidFill>
                <a:schemeClr val="tx1"/>
              </a:solidFill>
            </a:endParaRPr>
          </a:p>
        </p:txBody>
      </p:sp>
      <p:sp>
        <p:nvSpPr>
          <p:cNvPr id="51" name="Retângulo 50"/>
          <p:cNvSpPr/>
          <p:nvPr/>
        </p:nvSpPr>
        <p:spPr>
          <a:xfrm>
            <a:off x="1588" y="-2702"/>
            <a:ext cx="12190413" cy="1577744"/>
          </a:xfrm>
          <a:prstGeom prst="rect">
            <a:avLst/>
          </a:prstGeom>
          <a:solidFill>
            <a:schemeClr val="tx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35995" rIns="71991" bIns="35995" rtlCol="0" anchor="ctr"/>
          <a:lstStyle/>
          <a:p>
            <a:pPr algn="ctr"/>
            <a:endParaRPr lang="pt-BR" sz="2000" dirty="0" err="1">
              <a:solidFill>
                <a:prstClr val="white"/>
              </a:solidFill>
            </a:endParaRPr>
          </a:p>
        </p:txBody>
      </p:sp>
      <p:sp>
        <p:nvSpPr>
          <p:cNvPr id="19" name="Title 7"/>
          <p:cNvSpPr txBox="1">
            <a:spLocks/>
          </p:cNvSpPr>
          <p:nvPr/>
        </p:nvSpPr>
        <p:spPr>
          <a:xfrm>
            <a:off x="763391" y="670840"/>
            <a:ext cx="8865755" cy="3948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endParaRPr lang="en-GB" sz="2800" b="1">
              <a:solidFill>
                <a:prstClr val="black"/>
              </a:solidFill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410635" y="332656"/>
            <a:ext cx="195714" cy="728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5" name="CaixaDeTexto 34"/>
          <p:cNvSpPr txBox="1"/>
          <p:nvPr/>
        </p:nvSpPr>
        <p:spPr>
          <a:xfrm>
            <a:off x="633437" y="232308"/>
            <a:ext cx="9788052" cy="8924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3200" b="1" dirty="0">
                <a:solidFill>
                  <a:prstClr val="white"/>
                </a:solidFill>
              </a:rPr>
              <a:t>Ranking </a:t>
            </a:r>
            <a:r>
              <a:rPr lang="en-GB" sz="3200" b="1" dirty="0" err="1">
                <a:solidFill>
                  <a:prstClr val="white"/>
                </a:solidFill>
              </a:rPr>
              <a:t>Energia</a:t>
            </a:r>
            <a:r>
              <a:rPr lang="en-GB" sz="3200" b="1" dirty="0">
                <a:solidFill>
                  <a:prstClr val="white"/>
                </a:solidFill>
              </a:rPr>
              <a:t> </a:t>
            </a:r>
            <a:r>
              <a:rPr lang="en-GB" sz="3200" b="1" dirty="0" err="1">
                <a:solidFill>
                  <a:prstClr val="white"/>
                </a:solidFill>
              </a:rPr>
              <a:t>Eólica</a:t>
            </a:r>
            <a:r>
              <a:rPr lang="en-GB" sz="3200" b="1" dirty="0">
                <a:solidFill>
                  <a:prstClr val="white"/>
                </a:solidFill>
              </a:rPr>
              <a:t> </a:t>
            </a:r>
            <a:r>
              <a:rPr lang="en-GB" sz="3200" b="1" dirty="0" err="1">
                <a:solidFill>
                  <a:prstClr val="white"/>
                </a:solidFill>
              </a:rPr>
              <a:t>brasileiro</a:t>
            </a:r>
            <a:r>
              <a:rPr lang="en-US" sz="3200" b="1" baseline="30000" dirty="0">
                <a:solidFill>
                  <a:prstClr val="white"/>
                </a:solidFill>
              </a:rPr>
              <a:t>1</a:t>
            </a:r>
            <a:r>
              <a:rPr lang="en-GB" sz="3200" b="1" dirty="0">
                <a:solidFill>
                  <a:prstClr val="white"/>
                </a:solidFill>
              </a:rPr>
              <a:t> </a:t>
            </a:r>
          </a:p>
          <a:p>
            <a:r>
              <a:rPr lang="en-GB" sz="2000" b="1" dirty="0">
                <a:solidFill>
                  <a:prstClr val="white"/>
                </a:solidFill>
              </a:rPr>
              <a:t>(MW </a:t>
            </a:r>
            <a:r>
              <a:rPr lang="en-GB" sz="2000" b="1" dirty="0" err="1">
                <a:solidFill>
                  <a:prstClr val="white"/>
                </a:solidFill>
              </a:rPr>
              <a:t>instalados</a:t>
            </a:r>
            <a:r>
              <a:rPr lang="en-GB" sz="2000" b="1" dirty="0">
                <a:solidFill>
                  <a:prstClr val="white"/>
                </a:solidFill>
              </a:rPr>
              <a:t> + </a:t>
            </a:r>
            <a:r>
              <a:rPr lang="en-GB" sz="2000" b="1" dirty="0" err="1">
                <a:solidFill>
                  <a:prstClr val="white"/>
                </a:solidFill>
              </a:rPr>
              <a:t>em</a:t>
            </a:r>
            <a:r>
              <a:rPr lang="en-GB" sz="2000" b="1" dirty="0">
                <a:solidFill>
                  <a:prstClr val="white"/>
                </a:solidFill>
              </a:rPr>
              <a:t> </a:t>
            </a:r>
            <a:r>
              <a:rPr lang="en-GB" sz="2000" b="1" dirty="0" err="1">
                <a:solidFill>
                  <a:prstClr val="white"/>
                </a:solidFill>
              </a:rPr>
              <a:t>construção</a:t>
            </a:r>
            <a:r>
              <a:rPr lang="en-GB" sz="2000" b="1" dirty="0">
                <a:solidFill>
                  <a:prstClr val="white"/>
                </a:solidFill>
              </a:rPr>
              <a:t>)</a:t>
            </a:r>
          </a:p>
        </p:txBody>
      </p:sp>
      <p:grpSp>
        <p:nvGrpSpPr>
          <p:cNvPr id="36" name="Group 5"/>
          <p:cNvGrpSpPr>
            <a:grpSpLocks noChangeAspect="1"/>
          </p:cNvGrpSpPr>
          <p:nvPr/>
        </p:nvGrpSpPr>
        <p:grpSpPr bwMode="auto">
          <a:xfrm>
            <a:off x="10424359" y="318746"/>
            <a:ext cx="1328474" cy="665754"/>
            <a:chOff x="-3449" y="-1785"/>
            <a:chExt cx="6959" cy="3487"/>
          </a:xfrm>
          <a:solidFill>
            <a:schemeClr val="bg1"/>
          </a:solidFill>
        </p:grpSpPr>
        <p:sp>
          <p:nvSpPr>
            <p:cNvPr id="37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9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0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1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2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3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5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914195"/>
              <a:endParaRPr lang="en-GB" sz="1867">
                <a:solidFill>
                  <a:prstClr val="black"/>
                </a:solidFill>
                <a:cs typeface="Arial" charset="0"/>
              </a:endParaRPr>
            </a:p>
          </p:txBody>
        </p:sp>
      </p:grpSp>
      <p:graphicFrame>
        <p:nvGraphicFramePr>
          <p:cNvPr id="54" name="Gráfico 53"/>
          <p:cNvGraphicFramePr/>
          <p:nvPr>
            <p:extLst/>
          </p:nvPr>
        </p:nvGraphicFramePr>
        <p:xfrm>
          <a:off x="1512369" y="2759333"/>
          <a:ext cx="8909120" cy="3030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966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7"/>
          <p:cNvSpPr txBox="1">
            <a:spLocks/>
          </p:cNvSpPr>
          <p:nvPr/>
        </p:nvSpPr>
        <p:spPr>
          <a:xfrm>
            <a:off x="762000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pt-BR" sz="2800" b="1" dirty="0" smtClean="0">
                <a:solidFill>
                  <a:schemeClr val="accent1">
                    <a:lumMod val="50000"/>
                  </a:schemeClr>
                </a:solidFill>
              </a:rPr>
              <a:t>Principais desafios enfrentados (</a:t>
            </a:r>
            <a:r>
              <a:rPr lang="pt-BR" sz="2800" b="1" dirty="0" err="1" smtClean="0">
                <a:solidFill>
                  <a:schemeClr val="accent1">
                    <a:lumMod val="50000"/>
                  </a:schemeClr>
                </a:solidFill>
              </a:rPr>
              <a:t>ex</a:t>
            </a:r>
            <a:r>
              <a:rPr lang="pt-BR" sz="2800" b="1" dirty="0" smtClean="0">
                <a:solidFill>
                  <a:schemeClr val="accent1">
                    <a:lumMod val="50000"/>
                  </a:schemeClr>
                </a:solidFill>
              </a:rPr>
              <a:t>: LER 2015)</a:t>
            </a:r>
            <a:endParaRPr 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11125" y="1045106"/>
            <a:ext cx="7289086" cy="3395591"/>
            <a:chOff x="411125" y="1050189"/>
            <a:chExt cx="7169889" cy="3250598"/>
          </a:xfrm>
        </p:grpSpPr>
        <p:sp>
          <p:nvSpPr>
            <p:cNvPr id="29" name="Text Box 3"/>
            <p:cNvSpPr txBox="1">
              <a:spLocks noChangeArrowheads="1"/>
            </p:cNvSpPr>
            <p:nvPr/>
          </p:nvSpPr>
          <p:spPr bwMode="auto">
            <a:xfrm>
              <a:off x="411125" y="1472598"/>
              <a:ext cx="7169889" cy="2828189"/>
            </a:xfrm>
            <a:prstGeom prst="rect">
              <a:avLst/>
            </a:prstGeom>
            <a:noFill/>
            <a:ln w="3175">
              <a:noFill/>
              <a:prstDash val="dash"/>
              <a:miter lim="800000"/>
              <a:headEnd/>
              <a:tailEnd/>
            </a:ln>
          </p:spPr>
          <p:txBody>
            <a:bodyPr wrap="square" lIns="121606" tIns="60804" rIns="121606" bIns="60804" numCol="1">
              <a:spAutoFit/>
            </a:bodyPr>
            <a:lstStyle/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Curto prazo para implantação do projeto (A-2) = 23 meses*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Descentralização dos processos (autorização e licenciamento)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Inicio das tratativas junto ao transmissor apenas após Parecer de Acesso e Assinatura do CCT*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Processo junto a distribuidora para alimentação do serviços auxiliares 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Fornecedores locais insuficientes para demanda do leilão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Falta de calendários de leilões futuros*</a:t>
              </a:r>
            </a:p>
            <a:p>
              <a:pPr marL="285750" indent="-285750" defTabSz="609585">
                <a:spcBef>
                  <a:spcPts val="800"/>
                </a:spcBef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pt-BR" sz="1600" dirty="0" smtClean="0">
                  <a:solidFill>
                    <a:schemeClr val="accent1">
                      <a:lumMod val="50000"/>
                    </a:schemeClr>
                  </a:solidFill>
                </a:rPr>
                <a:t>Necessidade de novos recordes nos processos construtivos e obtenção das autorizações e permissões </a:t>
              </a:r>
            </a:p>
          </p:txBody>
        </p:sp>
        <p:sp>
          <p:nvSpPr>
            <p:cNvPr id="5" name="Retângulo 4"/>
            <p:cNvSpPr/>
            <p:nvPr/>
          </p:nvSpPr>
          <p:spPr>
            <a:xfrm>
              <a:off x="756262" y="1050189"/>
              <a:ext cx="1972879" cy="35356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b="1" dirty="0" smtClean="0">
                  <a:solidFill>
                    <a:schemeClr val="accent1">
                      <a:lumMod val="50000"/>
                    </a:schemeClr>
                  </a:solidFill>
                </a:rPr>
                <a:t>Desafios vividos</a:t>
              </a:r>
              <a:endParaRPr lang="pt-BR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sp>
        <p:nvSpPr>
          <p:cNvPr id="9" name="Retângulo 8"/>
          <p:cNvSpPr/>
          <p:nvPr/>
        </p:nvSpPr>
        <p:spPr>
          <a:xfrm rot="630307">
            <a:off x="6904766" y="3578400"/>
            <a:ext cx="5283819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2800" b="0" cap="none" spc="0" dirty="0" smtClean="0">
                <a:ln w="0"/>
                <a:solidFill>
                  <a:schemeClr val="accent1">
                    <a:lumMod val="50000"/>
                  </a:schemeClr>
                </a:solidFill>
                <a:effectLst/>
              </a:rPr>
              <a:t>Como fazer tudo isso no prazo?</a:t>
            </a:r>
            <a:endParaRPr lang="pt-BR" sz="5400" b="0" cap="none" spc="0" dirty="0">
              <a:ln w="0"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15" name="Retângulo 14"/>
          <p:cNvSpPr/>
          <p:nvPr/>
        </p:nvSpPr>
        <p:spPr>
          <a:xfrm rot="19698969">
            <a:off x="8016803" y="2045598"/>
            <a:ext cx="204254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2800" b="0" cap="none" spc="0" dirty="0" smtClean="0">
                <a:ln w="0"/>
                <a:solidFill>
                  <a:schemeClr val="accent1">
                    <a:lumMod val="50000"/>
                  </a:schemeClr>
                </a:solidFill>
                <a:effectLst/>
              </a:rPr>
              <a:t>É possível?</a:t>
            </a:r>
            <a:endParaRPr lang="pt-BR" sz="2800" b="0" cap="none" spc="0" dirty="0">
              <a:ln w="0"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16" name="Retângulo 15"/>
          <p:cNvSpPr/>
          <p:nvPr/>
        </p:nvSpPr>
        <p:spPr>
          <a:xfrm rot="20733371">
            <a:off x="2359211" y="5355048"/>
            <a:ext cx="518122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2800" dirty="0" smtClean="0">
                <a:ln w="0"/>
                <a:solidFill>
                  <a:schemeClr val="accent1">
                    <a:lumMod val="50000"/>
                  </a:schemeClr>
                </a:solidFill>
              </a:rPr>
              <a:t>Precisamos de mais detalhes...</a:t>
            </a:r>
            <a:endParaRPr lang="pt-BR" sz="2800" b="0" cap="none" spc="0" dirty="0">
              <a:ln w="0"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305797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Ambientais e seus processos de licenciamento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Segnaposto testo 3"/>
          <p:cNvSpPr txBox="1">
            <a:spLocks/>
          </p:cNvSpPr>
          <p:nvPr/>
        </p:nvSpPr>
        <p:spPr>
          <a:xfrm>
            <a:off x="762002" y="1085370"/>
            <a:ext cx="10856257" cy="4207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/>
            <a:r>
              <a:rPr kumimoji="0" lang="it-IT" sz="2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mplo:</a:t>
            </a:r>
            <a:r>
              <a:rPr kumimoji="0" lang="it-IT" sz="2300" b="1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23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zo de Licenciamento e seu processo – </a:t>
            </a:r>
            <a:r>
              <a:rPr lang="it-IT" sz="23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LER/2015</a:t>
            </a:r>
            <a:endParaRPr kumimoji="0" lang="en-US" sz="2300" i="0" u="none" strike="noStrike" kern="120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23051" y="1718820"/>
            <a:ext cx="109593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dimento aos prazos de </a:t>
            </a:r>
            <a:r>
              <a:rPr lang="pt-BR" sz="2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cenciamento </a:t>
            </a: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iental e obtenção das autorizações dos órgãos intervenientes em curto prazo</a:t>
            </a:r>
          </a:p>
        </p:txBody>
      </p:sp>
      <p:sp>
        <p:nvSpPr>
          <p:cNvPr id="3" name="Retângulo 2"/>
          <p:cNvSpPr/>
          <p:nvPr/>
        </p:nvSpPr>
        <p:spPr>
          <a:xfrm>
            <a:off x="2258035" y="4222109"/>
            <a:ext cx="1869423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300" b="1" dirty="0" smtClean="0">
                <a:solidFill>
                  <a:schemeClr val="accent1">
                    <a:lumMod val="50000"/>
                  </a:schemeClr>
                </a:solidFill>
              </a:rPr>
              <a:t>Leilão de Energia</a:t>
            </a:r>
          </a:p>
          <a:p>
            <a:pPr algn="ctr"/>
            <a:r>
              <a:rPr lang="pt-BR" sz="1300" b="1" dirty="0" smtClean="0">
                <a:solidFill>
                  <a:schemeClr val="accent1">
                    <a:lumMod val="50000"/>
                  </a:schemeClr>
                </a:solidFill>
              </a:rPr>
              <a:t>28 de agosto de 2015</a:t>
            </a:r>
            <a:endParaRPr lang="pt-BR" sz="13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546" y="2568734"/>
            <a:ext cx="2168435" cy="1747621"/>
          </a:xfrm>
          <a:prstGeom prst="rect">
            <a:avLst/>
          </a:prstGeom>
        </p:spPr>
      </p:pic>
      <p:grpSp>
        <p:nvGrpSpPr>
          <p:cNvPr id="12" name="Grupo 11"/>
          <p:cNvGrpSpPr/>
          <p:nvPr/>
        </p:nvGrpSpPr>
        <p:grpSpPr>
          <a:xfrm>
            <a:off x="4173524" y="3162952"/>
            <a:ext cx="716082" cy="716082"/>
            <a:chOff x="2168376" y="285866"/>
            <a:chExt cx="716082" cy="716082"/>
          </a:xfrm>
        </p:grpSpPr>
        <p:sp>
          <p:nvSpPr>
            <p:cNvPr id="14" name="Mais 13"/>
            <p:cNvSpPr/>
            <p:nvPr/>
          </p:nvSpPr>
          <p:spPr>
            <a:xfrm>
              <a:off x="2168376" y="285866"/>
              <a:ext cx="716082" cy="716082"/>
            </a:xfrm>
            <a:prstGeom prst="mathPlus">
              <a:avLst/>
            </a:prstGeom>
          </p:spPr>
          <p:style>
            <a:lnRef idx="0">
              <a:schemeClr val="dk2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Mais 4"/>
            <p:cNvSpPr/>
            <p:nvPr/>
          </p:nvSpPr>
          <p:spPr>
            <a:xfrm>
              <a:off x="2263293" y="559696"/>
              <a:ext cx="526248" cy="1684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1200" kern="120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6738040" y="3162952"/>
            <a:ext cx="716082" cy="716082"/>
            <a:chOff x="4355708" y="259665"/>
            <a:chExt cx="716082" cy="716082"/>
          </a:xfrm>
        </p:grpSpPr>
        <p:sp>
          <p:nvSpPr>
            <p:cNvPr id="17" name="Igual 16"/>
            <p:cNvSpPr/>
            <p:nvPr/>
          </p:nvSpPr>
          <p:spPr>
            <a:xfrm>
              <a:off x="4355708" y="259665"/>
              <a:ext cx="716082" cy="716082"/>
            </a:xfrm>
            <a:prstGeom prst="mathEqual">
              <a:avLst/>
            </a:prstGeom>
          </p:spPr>
          <p:style>
            <a:lnRef idx="0">
              <a:schemeClr val="dk2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Igual 4"/>
            <p:cNvSpPr/>
            <p:nvPr/>
          </p:nvSpPr>
          <p:spPr>
            <a:xfrm>
              <a:off x="4450625" y="407178"/>
              <a:ext cx="526248" cy="4210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3000" kern="120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sp>
        <p:nvSpPr>
          <p:cNvPr id="6" name="Fluxograma: Conector 5"/>
          <p:cNvSpPr/>
          <p:nvPr/>
        </p:nvSpPr>
        <p:spPr>
          <a:xfrm>
            <a:off x="2334997" y="2743135"/>
            <a:ext cx="1682884" cy="1429503"/>
          </a:xfrm>
          <a:prstGeom prst="flowChartConnector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214" y="2977841"/>
            <a:ext cx="367521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988" y="3649094"/>
            <a:ext cx="382909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tângulo 24"/>
          <p:cNvSpPr/>
          <p:nvPr/>
        </p:nvSpPr>
        <p:spPr>
          <a:xfrm>
            <a:off x="4893655" y="4225963"/>
            <a:ext cx="220470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300" b="1" dirty="0" smtClean="0">
                <a:solidFill>
                  <a:schemeClr val="accent1">
                    <a:lumMod val="50000"/>
                  </a:schemeClr>
                </a:solidFill>
              </a:rPr>
              <a:t>Licenciamento Ambiental</a:t>
            </a:r>
            <a:endParaRPr lang="pt-BR" sz="13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29" name="Picture 5" descr="Resultado de imagem para ESTRAD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143" y="3325757"/>
            <a:ext cx="40255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tângulo 25"/>
          <p:cNvSpPr/>
          <p:nvPr/>
        </p:nvSpPr>
        <p:spPr>
          <a:xfrm>
            <a:off x="5589304" y="2953852"/>
            <a:ext cx="8072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800" b="1" dirty="0" smtClean="0">
                <a:solidFill>
                  <a:schemeClr val="accent1">
                    <a:lumMod val="50000"/>
                  </a:schemeClr>
                </a:solidFill>
              </a:rPr>
              <a:t>Licença de Instalação - LI</a:t>
            </a:r>
            <a:endParaRPr lang="pt-BR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5090337" y="3365635"/>
            <a:ext cx="85079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800" b="1" dirty="0" smtClean="0">
                <a:solidFill>
                  <a:schemeClr val="accent1">
                    <a:lumMod val="50000"/>
                  </a:schemeClr>
                </a:solidFill>
              </a:rPr>
              <a:t>Autorizações </a:t>
            </a:r>
            <a:endParaRPr lang="pt-BR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5633385" y="3687827"/>
            <a:ext cx="8284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800" b="1" dirty="0" smtClean="0">
                <a:solidFill>
                  <a:schemeClr val="accent1">
                    <a:lumMod val="50000"/>
                  </a:schemeClr>
                </a:solidFill>
              </a:rPr>
              <a:t>Licença de Operação - LO</a:t>
            </a:r>
            <a:endParaRPr lang="pt-BR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9" name="Imagem 28"/>
          <p:cNvPicPr/>
          <p:nvPr/>
        </p:nvPicPr>
        <p:blipFill>
          <a:blip r:embed="rId6"/>
          <a:stretch>
            <a:fillRect/>
          </a:stretch>
        </p:blipFill>
        <p:spPr>
          <a:xfrm>
            <a:off x="7455799" y="2759700"/>
            <a:ext cx="1682884" cy="142015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0" name="Retângulo 29"/>
          <p:cNvSpPr/>
          <p:nvPr/>
        </p:nvSpPr>
        <p:spPr>
          <a:xfrm>
            <a:off x="7433052" y="4179859"/>
            <a:ext cx="183896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300" b="1" dirty="0" smtClean="0">
                <a:solidFill>
                  <a:schemeClr val="accent1">
                    <a:lumMod val="50000"/>
                  </a:schemeClr>
                </a:solidFill>
              </a:rPr>
              <a:t>Início de Suprimento</a:t>
            </a:r>
          </a:p>
          <a:p>
            <a:pPr algn="ctr"/>
            <a:r>
              <a:rPr lang="pt-BR" sz="1300" b="1" dirty="0" smtClean="0">
                <a:solidFill>
                  <a:schemeClr val="accent1">
                    <a:lumMod val="50000"/>
                  </a:schemeClr>
                </a:solidFill>
              </a:rPr>
              <a:t>1º </a:t>
            </a:r>
            <a:r>
              <a:rPr lang="pt-BR" sz="1300" b="1" dirty="0">
                <a:solidFill>
                  <a:schemeClr val="accent1">
                    <a:lumMod val="50000"/>
                  </a:schemeClr>
                </a:solidFill>
              </a:rPr>
              <a:t>de agosto de </a:t>
            </a:r>
            <a:r>
              <a:rPr lang="pt-BR" sz="1300" b="1" dirty="0" smtClean="0">
                <a:solidFill>
                  <a:schemeClr val="accent1">
                    <a:lumMod val="50000"/>
                  </a:schemeClr>
                </a:solidFill>
              </a:rPr>
              <a:t>2017</a:t>
            </a:r>
            <a:endParaRPr lang="pt-BR" sz="13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2" name="Fluxograma: Conector 31"/>
          <p:cNvSpPr/>
          <p:nvPr/>
        </p:nvSpPr>
        <p:spPr>
          <a:xfrm>
            <a:off x="4959883" y="2796460"/>
            <a:ext cx="1682884" cy="1429503"/>
          </a:xfrm>
          <a:prstGeom prst="flowChartConnector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3" name="Fluxograma: Conector 32"/>
          <p:cNvSpPr/>
          <p:nvPr/>
        </p:nvSpPr>
        <p:spPr>
          <a:xfrm>
            <a:off x="7455799" y="2750356"/>
            <a:ext cx="1682884" cy="1429503"/>
          </a:xfrm>
          <a:prstGeom prst="flowChartConnector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97787" y="4864211"/>
            <a:ext cx="909076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ão institucional continua junto aos </a:t>
            </a: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s </a:t>
            </a: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íveis de </a:t>
            </a: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o:</a:t>
            </a:r>
          </a:p>
          <a:p>
            <a:pPr marL="800100" lvl="1" indent="-342900" algn="just">
              <a:buFont typeface="Arial" panose="020B0604020202020204" pitchFamily="34" charset="0"/>
              <a:buChar char="−"/>
            </a:pP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rgãos </a:t>
            </a: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ientais </a:t>
            </a:r>
          </a:p>
          <a:p>
            <a:pPr marL="800100" lvl="1" indent="-342900" algn="just">
              <a:buFont typeface="Arial" panose="020B0604020202020204" pitchFamily="34" charset="0"/>
              <a:buChar char="−"/>
            </a:pP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ação Cultural Palmares – FCP</a:t>
            </a:r>
          </a:p>
          <a:p>
            <a:pPr marL="800100" lvl="1" indent="-342900" algn="just">
              <a:buFont typeface="Symbol" panose="05050102010706020507" pitchFamily="18" charset="2"/>
              <a:buChar char=""/>
            </a:pP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amentos 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Estradas e </a:t>
            </a: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dagens – SEINFRA-BA / DER-PI / DNIT-BR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Symbol" panose="05050102010706020507" pitchFamily="18" charset="2"/>
              <a:buChar char=""/>
            </a:pP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o Nacional de Colonização e Reforma </a:t>
            </a: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ária – INCRA;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Symbol" panose="05050102010706020507" pitchFamily="18" charset="2"/>
              <a:buChar char=""/>
            </a:pP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o do </a:t>
            </a: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mônio Histórico e Artístico  – IPHAN</a:t>
            </a:r>
          </a:p>
          <a:p>
            <a:pPr marL="800100" lvl="1" indent="-342900" algn="just">
              <a:buFont typeface="Symbol" panose="05050102010706020507" pitchFamily="18" charset="2"/>
              <a:buChar char=""/>
            </a:pPr>
            <a:r>
              <a:rPr lang="pt-BR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ituras Municipais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49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3"/>
          <a:stretch/>
        </p:blipFill>
        <p:spPr bwMode="auto">
          <a:xfrm>
            <a:off x="9941442" y="1500027"/>
            <a:ext cx="2250558" cy="5357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egnaposto testo 3"/>
          <p:cNvSpPr txBox="1">
            <a:spLocks/>
          </p:cNvSpPr>
          <p:nvPr/>
        </p:nvSpPr>
        <p:spPr>
          <a:xfrm>
            <a:off x="762002" y="979040"/>
            <a:ext cx="10856257" cy="4207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/>
            <a:r>
              <a:rPr lang="it-IT" sz="2300" b="1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Ex: Nova Olinda</a:t>
            </a:r>
            <a:endParaRPr lang="it-IT" sz="2300" dirty="0">
              <a:solidFill>
                <a:schemeClr val="accent1">
                  <a:lumMod val="50000"/>
                </a:schemeClr>
              </a:solidFill>
              <a:latin typeface="Arial"/>
            </a:endParaRPr>
          </a:p>
          <a:p>
            <a:pPr lvl="0" algn="just"/>
            <a:r>
              <a:rPr kumimoji="0" lang="it-IT" sz="23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lvl="0" algn="just"/>
            <a:endParaRPr kumimoji="0" lang="en-US" sz="2300" i="0" u="none" strike="noStrike" kern="120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708837" y="1500106"/>
            <a:ext cx="9105012" cy="39857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ção da IN/2015 – IPHAN</a:t>
            </a:r>
          </a:p>
          <a:p>
            <a:pPr marL="800100" lvl="1" indent="-342900" algn="just">
              <a:buFont typeface="Arial" panose="020B0604020202020204" pitchFamily="34" charset="0"/>
              <a:buChar char="−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íodo de transição dos procedimentos da Portaria 230/02 para nova normativa (empreendedor e órgão)</a:t>
            </a:r>
            <a:endParaRPr lang="pt-BR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Arial" panose="020B0604020202020204" pitchFamily="34" charset="0"/>
              <a:buChar char="−"/>
            </a:pPr>
            <a:endParaRPr lang="pt-BR" sz="2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ção de </a:t>
            </a:r>
            <a:r>
              <a:rPr lang="pt-BR" sz="2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ha de Transmissão </a:t>
            </a: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</a:t>
            </a:r>
            <a:r>
              <a:rPr lang="pt-BR" sz="2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</a:t>
            </a: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 de influência de comunidades </a:t>
            </a:r>
            <a:r>
              <a:rPr lang="pt-BR" sz="2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pt-BR" sz="2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cionais e assentamentos rurais: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pt-BR" sz="2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amentos: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niões Públicas e Mobilização nas Associações por meio dos Representantes Locais; Articulação contratuais junto ao INCRA/Projeto da CODEVASF.</a:t>
            </a: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endParaRPr lang="pt-BR" sz="16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−"/>
            </a:pP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lombolas: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e envolvimento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FCP e as comunidades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lombolas no processo de licenciamento ambiental; Transparência das atividades e reuniões públicas com os </a:t>
            </a:r>
            <a:r>
              <a:rPr lang="pt-BR" sz="16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ak</a:t>
            </a:r>
            <a:r>
              <a:rPr lang="pt-BR" sz="1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pt-BR" sz="16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ers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t-BR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Ambientais e seus processos de licenciamento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21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02044543"/>
              </p:ext>
            </p:extLst>
          </p:nvPr>
        </p:nvGraphicFramePr>
        <p:xfrm>
          <a:off x="627152" y="1597442"/>
          <a:ext cx="10969809" cy="4710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olo 2"/>
          <p:cNvSpPr txBox="1">
            <a:spLocks/>
          </p:cNvSpPr>
          <p:nvPr/>
        </p:nvSpPr>
        <p:spPr>
          <a:xfrm>
            <a:off x="762002" y="682153"/>
            <a:ext cx="10282516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Desafios Ambientais e seus processos de licenciamento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Segnaposto testo 3"/>
          <p:cNvSpPr txBox="1">
            <a:spLocks/>
          </p:cNvSpPr>
          <p:nvPr/>
        </p:nvSpPr>
        <p:spPr>
          <a:xfrm>
            <a:off x="762002" y="979040"/>
            <a:ext cx="10856257" cy="4207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/>
            <a:r>
              <a:rPr lang="it-IT" sz="2300" b="1" dirty="0" smtClean="0">
                <a:solidFill>
                  <a:schemeClr val="accent1">
                    <a:lumMod val="50000"/>
                  </a:schemeClr>
                </a:solidFill>
                <a:latin typeface="Arial"/>
              </a:rPr>
              <a:t>Como fizemos...</a:t>
            </a:r>
            <a:endParaRPr kumimoji="0" lang="it-IT" sz="2300" i="0" u="none" strike="noStrike" kern="1200" cap="none" spc="0" normalizeH="0" noProof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  <a:p>
            <a:pPr lvl="0" algn="just"/>
            <a:endParaRPr kumimoji="0" lang="en-US" sz="2300" i="0" u="none" strike="noStrike" kern="120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95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GP_PPTtemplate_v2-7[JPEG+VECTOR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EGP_PPTtemplate_v2-7[JPEG+VECTOR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3.xml><?xml version="1.0" encoding="utf-8"?>
<a:theme xmlns:a="http://schemas.openxmlformats.org/drawingml/2006/main" name="3_Enel_PPTtemplate_26012016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4.xml><?xml version="1.0" encoding="utf-8"?>
<a:theme xmlns:a="http://schemas.openxmlformats.org/drawingml/2006/main" name="EGP Template v2.7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5.xml><?xml version="1.0" encoding="utf-8"?>
<a:theme xmlns:a="http://schemas.openxmlformats.org/drawingml/2006/main" name="3_EGP_PPTtemplate_v2-7[JPEG+VECTOR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6.xml><?xml version="1.0" encoding="utf-8"?>
<a:theme xmlns:a="http://schemas.openxmlformats.org/drawingml/2006/main" name="4_EGP_PPTtemplate_v2-7[JPEG+VECTOR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7.xml><?xml version="1.0" encoding="utf-8"?>
<a:theme xmlns:a="http://schemas.openxmlformats.org/drawingml/2006/main" name="Enel_PPTtemplate_26012016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8.xml><?xml version="1.0" encoding="utf-8"?>
<a:theme xmlns:a="http://schemas.openxmlformats.org/drawingml/2006/main" name="5_EGP_PPTtemplate_v2-7[JPEG+VECTOR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GP_PPTtemplate_v2-7[JPEG+VECTORLOGO]</Template>
  <TotalTime>0</TotalTime>
  <Words>1465</Words>
  <Application>Microsoft Office PowerPoint</Application>
  <PresentationFormat>Widescreen</PresentationFormat>
  <Paragraphs>283</Paragraphs>
  <Slides>16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8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6</vt:i4>
      </vt:variant>
    </vt:vector>
  </HeadingPairs>
  <TitlesOfParts>
    <vt:vector size="34" baseType="lpstr">
      <vt:lpstr>Arial Unicode MS</vt:lpstr>
      <vt:lpstr>Arial</vt:lpstr>
      <vt:lpstr>Calibri</vt:lpstr>
      <vt:lpstr>Lucida Grande</vt:lpstr>
      <vt:lpstr>Symbol</vt:lpstr>
      <vt:lpstr>Verdana</vt:lpstr>
      <vt:lpstr>Wingdings</vt:lpstr>
      <vt:lpstr>ヒラギノ角ゴ Pro W3</vt:lpstr>
      <vt:lpstr>EGP_PPTtemplate_v2-7[JPEG+VECTORLOGO]</vt:lpstr>
      <vt:lpstr>1_EGP_PPTtemplate_v2-7[JPEG+VECTORLOGO]</vt:lpstr>
      <vt:lpstr>3_Enel_PPTtemplate_26012016</vt:lpstr>
      <vt:lpstr>EGP Template v2.7 [JPEG+VECTOR LOGO]</vt:lpstr>
      <vt:lpstr>3_EGP_PPTtemplate_v2-7[JPEG+VECTORLOGO]</vt:lpstr>
      <vt:lpstr>4_EGP_PPTtemplate_v2-7[JPEG+VECTORLOGO]</vt:lpstr>
      <vt:lpstr>Enel_PPTtemplate_26012016</vt:lpstr>
      <vt:lpstr>5_EGP_PPTtemplate_v2-7[JPEG+VECTORLOGO]</vt:lpstr>
      <vt:lpstr>Slide do think-cell</vt:lpstr>
      <vt:lpstr>Diapositiva de think-cell</vt:lpstr>
      <vt:lpstr>Enel Green Power  Brazil &amp; Uruguay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brigad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6-01-27T16:16:24Z</cp:lastPrinted>
  <dcterms:created xsi:type="dcterms:W3CDTF">2016-01-28T12:33:47Z</dcterms:created>
  <dcterms:modified xsi:type="dcterms:W3CDTF">2018-03-15T15:42:48Z</dcterms:modified>
</cp:coreProperties>
</file>